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7.xml" ContentType="application/vnd.openxmlformats-officedocument.presentationml.tags+xml"/>
  <Override PartName="/ppt/notesSlides/notesSlide10.xml" ContentType="application/vnd.openxmlformats-officedocument.presentationml.notesSlide+xml"/>
  <Override PartName="/ppt/tags/tag8.xml" ContentType="application/vnd.openxmlformats-officedocument.presentationml.tags+xml"/>
  <Override PartName="/ppt/notesSlides/notesSlide11.xml" ContentType="application/vnd.openxmlformats-officedocument.presentationml.notesSlide+xml"/>
  <Override PartName="/ppt/tags/tag9.xml" ContentType="application/vnd.openxmlformats-officedocument.presentationml.tags+xml"/>
  <Override PartName="/ppt/notesSlides/notesSlide12.xml" ContentType="application/vnd.openxmlformats-officedocument.presentationml.notesSlide+xml"/>
  <Override PartName="/ppt/tags/tag10.xml" ContentType="application/vnd.openxmlformats-officedocument.presentationml.tags+xml"/>
  <Override PartName="/ppt/notesSlides/notesSlide13.xml" ContentType="application/vnd.openxmlformats-officedocument.presentationml.notesSlide+xml"/>
  <Override PartName="/ppt/tags/tag11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86" r:id="rId1"/>
    <p:sldMasterId id="2147483669" r:id="rId2"/>
    <p:sldMasterId id="2147483696" r:id="rId3"/>
    <p:sldMasterId id="2147483711" r:id="rId4"/>
  </p:sldMasterIdLst>
  <p:notesMasterIdLst>
    <p:notesMasterId r:id="rId20"/>
  </p:notesMasterIdLst>
  <p:handoutMasterIdLst>
    <p:handoutMasterId r:id="rId21"/>
  </p:handoutMasterIdLst>
  <p:sldIdLst>
    <p:sldId id="494" r:id="rId5"/>
    <p:sldId id="339" r:id="rId6"/>
    <p:sldId id="649" r:id="rId7"/>
    <p:sldId id="296" r:id="rId8"/>
    <p:sldId id="343" r:id="rId9"/>
    <p:sldId id="342" r:id="rId10"/>
    <p:sldId id="642" r:id="rId11"/>
    <p:sldId id="645" r:id="rId12"/>
    <p:sldId id="644" r:id="rId13"/>
    <p:sldId id="650" r:id="rId14"/>
    <p:sldId id="657" r:id="rId15"/>
    <p:sldId id="655" r:id="rId16"/>
    <p:sldId id="658" r:id="rId17"/>
    <p:sldId id="651" r:id="rId18"/>
    <p:sldId id="647" r:id="rId19"/>
  </p:sldIdLst>
  <p:sldSz cx="12192000" cy="6858000"/>
  <p:notesSz cx="6858000" cy="9144000"/>
  <p:embeddedFontLst>
    <p:embeddedFont>
      <p:font typeface="Calibri" panose="020F0502020204030204" pitchFamily="34" charset="0"/>
      <p:regular r:id="rId22"/>
      <p:bold r:id="rId23"/>
      <p:italic r:id="rId24"/>
      <p:boldItalic r:id="rId25"/>
    </p:embeddedFont>
    <p:embeddedFont>
      <p:font typeface="Calibri Light" panose="020F0302020204030204" pitchFamily="34" charset="0"/>
      <p:regular r:id="rId26"/>
      <p:italic r:id="rId27"/>
    </p:embeddedFont>
    <p:embeddedFont>
      <p:font typeface="Museo 100" panose="02000000000000000000" charset="0"/>
      <p:regular r:id="rId28"/>
      <p:italic r:id="rId29"/>
    </p:embeddedFont>
    <p:embeddedFont>
      <p:font typeface="Museo 900" panose="02000000000000000000" charset="0"/>
      <p:bold r:id="rId30"/>
    </p:embeddedFont>
    <p:embeddedFont>
      <p:font typeface="Museo Sans 100" panose="02000000000000000000" charset="0"/>
      <p:regular r:id="rId31"/>
      <p:italic r:id="rId32"/>
    </p:embeddedFont>
    <p:embeddedFont>
      <p:font typeface="Museo Sans 900" panose="02000000000000000000" charset="0"/>
      <p:bold r:id="rId33"/>
      <p:boldItalic r:id="rId34"/>
    </p:embeddedFont>
    <p:embeddedFont>
      <p:font typeface="Ubuntu" panose="020B0504030602030204" pitchFamily="34" charset="0"/>
      <p:regular r:id="rId35"/>
      <p:bold r:id="rId36"/>
      <p:italic r:id="rId37"/>
      <p:boldItalic r:id="rId38"/>
    </p:embeddedFont>
  </p:embeddedFontLst>
  <p:custDataLst>
    <p:tags r:id="rId39"/>
  </p:custDataLst>
  <p:defaultTextStyle>
    <a:defPPr>
      <a:defRPr lang="aa-E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aamloze sectie" id="{87217673-FABD-41B9-AEAD-FD3B7BBF191A}">
          <p14:sldIdLst>
            <p14:sldId id="494"/>
            <p14:sldId id="339"/>
            <p14:sldId id="649"/>
            <p14:sldId id="296"/>
            <p14:sldId id="343"/>
            <p14:sldId id="342"/>
            <p14:sldId id="642"/>
            <p14:sldId id="645"/>
            <p14:sldId id="644"/>
            <p14:sldId id="650"/>
            <p14:sldId id="657"/>
            <p14:sldId id="655"/>
            <p14:sldId id="658"/>
            <p14:sldId id="651"/>
            <p14:sldId id="64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2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ivier Kerkhofs" initials="OK" lastIdx="27" clrIdx="0">
    <p:extLst>
      <p:ext uri="{19B8F6BF-5375-455C-9EA6-DF929625EA0E}">
        <p15:presenceInfo xmlns:p15="http://schemas.microsoft.com/office/powerpoint/2012/main" userId="S::o.kerkhofs@konings.be::ebec2608-45a7-449b-b662-e5c03c3a45cb" providerId="AD"/>
      </p:ext>
    </p:extLst>
  </p:cmAuthor>
  <p:cmAuthor id="2" name="Lore Hoebrekx" initials="LH" lastIdx="6" clrIdx="1">
    <p:extLst>
      <p:ext uri="{19B8F6BF-5375-455C-9EA6-DF929625EA0E}">
        <p15:presenceInfo xmlns:p15="http://schemas.microsoft.com/office/powerpoint/2012/main" userId="S::lore@kingfisherhetbedrijf.onmicrosoft.com::a5bf4f1c-79e3-45fc-bcd9-b09ebd778df5" providerId="AD"/>
      </p:ext>
    </p:extLst>
  </p:cmAuthor>
  <p:cmAuthor id="3" name="Lore" initials="L" lastIdx="21" clrIdx="2">
    <p:extLst>
      <p:ext uri="{19B8F6BF-5375-455C-9EA6-DF929625EA0E}">
        <p15:presenceInfo xmlns:p15="http://schemas.microsoft.com/office/powerpoint/2012/main" userId="S-1-5-21-3138078631-2974712742-3851454010-1119" providerId="AD"/>
      </p:ext>
    </p:extLst>
  </p:cmAuthor>
  <p:cmAuthor id="4" name="Natalie Rayen" initials="NR" lastIdx="14" clrIdx="3">
    <p:extLst>
      <p:ext uri="{19B8F6BF-5375-455C-9EA6-DF929625EA0E}">
        <p15:presenceInfo xmlns:p15="http://schemas.microsoft.com/office/powerpoint/2012/main" userId="S::natalie@kingfishermarketing.be::e2203fbb-de29-4f0b-9935-202c7a28f7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AA00"/>
    <a:srgbClr val="1E377D"/>
    <a:srgbClr val="E6E6E6"/>
    <a:srgbClr val="CE6300"/>
    <a:srgbClr val="FFFFFF"/>
    <a:srgbClr val="00B050"/>
    <a:srgbClr val="FA8C00"/>
    <a:srgbClr val="A3E1B0"/>
    <a:srgbClr val="0A2369"/>
    <a:srgbClr val="233C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636" autoAdjust="0"/>
    <p:restoredTop sz="84094" autoAdjust="0"/>
  </p:normalViewPr>
  <p:slideViewPr>
    <p:cSldViewPr snapToGrid="0">
      <p:cViewPr varScale="1">
        <p:scale>
          <a:sx n="69" d="100"/>
          <a:sy n="69" d="100"/>
        </p:scale>
        <p:origin x="1219" y="72"/>
      </p:cViewPr>
      <p:guideLst>
        <p:guide orient="horz" pos="2160"/>
        <p:guide pos="3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285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5.fntdata"/><Relationship Id="rId39" Type="http://schemas.openxmlformats.org/officeDocument/2006/relationships/tags" Target="tags/tag1.xml"/><Relationship Id="rId21" Type="http://schemas.openxmlformats.org/officeDocument/2006/relationships/handoutMaster" Target="handoutMasters/handoutMaster1.xml"/><Relationship Id="rId34" Type="http://schemas.openxmlformats.org/officeDocument/2006/relationships/font" Target="fonts/font13.fntdata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29" Type="http://schemas.openxmlformats.org/officeDocument/2006/relationships/font" Target="fonts/font8.fntdata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3.fntdata"/><Relationship Id="rId32" Type="http://schemas.openxmlformats.org/officeDocument/2006/relationships/font" Target="fonts/font11.fntdata"/><Relationship Id="rId37" Type="http://schemas.openxmlformats.org/officeDocument/2006/relationships/font" Target="fonts/font16.fntdata"/><Relationship Id="rId40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36" Type="http://schemas.openxmlformats.org/officeDocument/2006/relationships/font" Target="fonts/font15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10.fntdata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font" Target="fonts/font9.fntdata"/><Relationship Id="rId35" Type="http://schemas.openxmlformats.org/officeDocument/2006/relationships/font" Target="fonts/font14.fntdata"/><Relationship Id="rId43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4.fntdata"/><Relationship Id="rId33" Type="http://schemas.openxmlformats.org/officeDocument/2006/relationships/font" Target="fonts/font12.fntdata"/><Relationship Id="rId38" Type="http://schemas.openxmlformats.org/officeDocument/2006/relationships/font" Target="fonts/font17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F335622-BAD6-4D40-A6EE-0CC720E3C1C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E62A2D-F11E-4A44-9A33-2D6933E1E56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DAF52A-F50E-4A68-A73D-CD666A061F5C}" type="datetimeFigureOut">
              <a:rPr lang="en-GB" smtClean="0"/>
              <a:t>24/05/2022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3DAE8E-3204-42C8-9AD2-0891DE1866E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3C3138-2D17-452B-8431-8BDAF7A345A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492F78-5966-483D-8B44-8D56E19B15AF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49506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aa-ET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8DF934-DFB7-4B03-AADF-1E70913EBF53}" type="datetimeFigureOut">
              <a:rPr lang="aa-ET" smtClean="0"/>
              <a:t>05/24/2022</a:t>
            </a:fld>
            <a:endParaRPr lang="aa-ET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aa-ET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aa-ET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aa-ET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197D68-4265-4930-B3EE-C578518BE8A7}" type="slidenum">
              <a:rPr lang="aa-ET" smtClean="0"/>
              <a:t>‹nr.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33624537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D9D55F-6F0C-46A4-B816-6C65B0E9F833}" type="slidenum">
              <a:rPr lang="nl-BE" smtClean="0"/>
              <a:t>1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9124605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197D68-4265-4930-B3EE-C578518BE8A7}" type="slidenum">
              <a:rPr lang="aa-ET" smtClean="0"/>
              <a:t>10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40237272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197D68-4265-4930-B3EE-C578518BE8A7}" type="slidenum">
              <a:rPr lang="aa-ET" smtClean="0"/>
              <a:t>11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19926388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197D68-4265-4930-B3EE-C578518BE8A7}" type="slidenum">
              <a:rPr lang="aa-ET" smtClean="0"/>
              <a:t>12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38565136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197D68-4265-4930-B3EE-C578518BE8A7}" type="slidenum">
              <a:rPr lang="aa-ET" smtClean="0"/>
              <a:t>13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97279048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197D68-4265-4930-B3EE-C578518BE8A7}" type="slidenum">
              <a:rPr lang="aa-ET" smtClean="0"/>
              <a:t>14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41692718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D9D55F-6F0C-46A4-B816-6C65B0E9F833}" type="slidenum">
              <a:rPr lang="nl-BE" smtClean="0"/>
              <a:t>15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4541209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dirty="0"/>
              <a:t>What do we do at </a:t>
            </a:r>
            <a:r>
              <a:rPr lang="en-US" sz="1400" dirty="0" err="1"/>
              <a:t>Konings</a:t>
            </a:r>
            <a:r>
              <a:rPr lang="en-US" sz="1400" dirty="0"/>
              <a:t>?</a:t>
            </a:r>
          </a:p>
          <a:p>
            <a:endParaRPr lang="en-US" sz="1400" dirty="0"/>
          </a:p>
          <a:p>
            <a:r>
              <a:rPr lang="en-US" sz="1400" dirty="0" err="1"/>
              <a:t>Konings</a:t>
            </a:r>
            <a:r>
              <a:rPr lang="en-US" sz="1400" dirty="0"/>
              <a:t> is a very  agile partner for co-manufacturing and for co-packing your drinks. And that is essentially what we are all about :  YOUR drinks</a:t>
            </a:r>
          </a:p>
          <a:p>
            <a:endParaRPr lang="en-US" sz="1400" dirty="0"/>
          </a:p>
          <a:p>
            <a:r>
              <a:rPr lang="en-US" sz="1400" dirty="0"/>
              <a:t>We produce or blend nearly everything in the spectrum :  juices, ciders, soft drinks, alcohol from Whisky to hard </a:t>
            </a:r>
            <a:r>
              <a:rPr lang="en-US" sz="1400" dirty="0" err="1"/>
              <a:t>zeltsers</a:t>
            </a:r>
            <a:r>
              <a:rPr lang="en-US" sz="1400" dirty="0"/>
              <a:t>, foamy milk coffees, fermented teas, …….</a:t>
            </a:r>
          </a:p>
          <a:p>
            <a:endParaRPr lang="en-US" sz="1400" dirty="0"/>
          </a:p>
          <a:p>
            <a:r>
              <a:rPr lang="en-US" sz="1400" dirty="0"/>
              <a:t>AND we can put it in different vessels (can, glass, PET, Tetra) and that in nearly every possible form</a:t>
            </a:r>
          </a:p>
          <a:p>
            <a:endParaRPr lang="en-US" sz="1400" dirty="0"/>
          </a:p>
          <a:p>
            <a:endParaRPr lang="en-US" sz="1400" dirty="0"/>
          </a:p>
          <a:p>
            <a:r>
              <a:rPr lang="en-US" sz="1400" dirty="0"/>
              <a:t>Our key objectives are working on innovations, service, </a:t>
            </a:r>
            <a:r>
              <a:rPr lang="aa-ET" sz="1400" dirty="0"/>
              <a:t>agility</a:t>
            </a:r>
            <a:r>
              <a:rPr lang="en-US" sz="1400" dirty="0"/>
              <a:t> and especially long-term commitment and growth with our partners</a:t>
            </a:r>
          </a:p>
          <a:p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197D68-4265-4930-B3EE-C578518BE8A7}" type="slidenum">
              <a:rPr lang="aa-ET" smtClean="0"/>
              <a:t>2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29349153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b="0" i="0" dirty="0">
              <a:solidFill>
                <a:srgbClr val="333333"/>
              </a:solidFill>
              <a:effectLst/>
              <a:latin typeface="Ubuntu" panose="020B0504030602030204" pitchFamily="34" charset="0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D9D55F-6F0C-46A4-B816-6C65B0E9F833}" type="slidenum">
              <a:rPr lang="nl-BE" smtClean="0"/>
              <a:t>3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9982506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1500"/>
              </a:spcAft>
            </a:pPr>
            <a:r>
              <a:rPr lang="en-US" b="1" dirty="0">
                <a:solidFill>
                  <a:schemeClr val="accent1"/>
                </a:solidFill>
              </a:rPr>
              <a:t>The company was founded in 1946:</a:t>
            </a:r>
            <a:r>
              <a:rPr lang="en-US" dirty="0"/>
              <a:t>  by Mister </a:t>
            </a:r>
            <a:r>
              <a:rPr lang="en-US" dirty="0" err="1"/>
              <a:t>Konings</a:t>
            </a:r>
            <a:r>
              <a:rPr lang="en-US" dirty="0"/>
              <a:t> as a distillery</a:t>
            </a:r>
          </a:p>
          <a:p>
            <a:pPr>
              <a:spcAft>
                <a:spcPts val="1500"/>
              </a:spcAft>
            </a:pPr>
            <a:endParaRPr lang="aa-ET" dirty="0"/>
          </a:p>
          <a:p>
            <a:pPr>
              <a:spcAft>
                <a:spcPts val="1500"/>
              </a:spcAft>
            </a:pPr>
            <a:r>
              <a:rPr lang="en-US" b="1" dirty="0">
                <a:solidFill>
                  <a:schemeClr val="accent1"/>
                </a:solidFill>
              </a:rPr>
              <a:t>1970:</a:t>
            </a:r>
            <a:r>
              <a:rPr lang="en-US" dirty="0"/>
              <a:t> Start production of cider</a:t>
            </a:r>
          </a:p>
          <a:p>
            <a:pPr>
              <a:spcAft>
                <a:spcPts val="1500"/>
              </a:spcAft>
            </a:pPr>
            <a:endParaRPr lang="aa-ET" dirty="0"/>
          </a:p>
          <a:p>
            <a:pPr>
              <a:spcAft>
                <a:spcPts val="1500"/>
              </a:spcAft>
            </a:pPr>
            <a:r>
              <a:rPr lang="en-US" b="1" dirty="0">
                <a:solidFill>
                  <a:schemeClr val="accent1"/>
                </a:solidFill>
              </a:rPr>
              <a:t>17 years later  we started the </a:t>
            </a:r>
            <a:r>
              <a:rPr lang="en-US" dirty="0"/>
              <a:t>production of fruit juices</a:t>
            </a:r>
          </a:p>
          <a:p>
            <a:pPr>
              <a:spcAft>
                <a:spcPts val="1500"/>
              </a:spcAft>
            </a:pPr>
            <a:endParaRPr lang="aa-ET" dirty="0"/>
          </a:p>
          <a:p>
            <a:pPr>
              <a:spcAft>
                <a:spcPts val="1500"/>
              </a:spcAft>
            </a:pPr>
            <a:r>
              <a:rPr lang="en-GB" b="1" dirty="0">
                <a:solidFill>
                  <a:schemeClr val="accent1"/>
                </a:solidFill>
              </a:rPr>
              <a:t>Crucial  was  2007:</a:t>
            </a:r>
            <a:r>
              <a:rPr lang="en-GB" dirty="0"/>
              <a:t> MBO by Jos Rutten, Dirk Maris, Luc Nulens, Jef Moors. This changed the company profoundly and these changes are still embedded in our DNA</a:t>
            </a:r>
          </a:p>
          <a:p>
            <a:pPr>
              <a:spcAft>
                <a:spcPts val="1500"/>
              </a:spcAft>
            </a:pPr>
            <a:endParaRPr lang="aa-ET" dirty="0"/>
          </a:p>
          <a:p>
            <a:pPr>
              <a:spcAft>
                <a:spcPts val="1500"/>
              </a:spcAft>
            </a:pPr>
            <a:r>
              <a:rPr lang="en-US" b="1" dirty="0">
                <a:solidFill>
                  <a:schemeClr val="accent1"/>
                </a:solidFill>
              </a:rPr>
              <a:t>And then over the last 10 years we did 4 acquisitions which is pretty impressive, one in Belgium, The Netherlands, The UK and France. These acquisitions are mostly also customer driven as the UK plant is a former </a:t>
            </a:r>
            <a:r>
              <a:rPr lang="en-US" b="1" dirty="0" err="1">
                <a:solidFill>
                  <a:schemeClr val="accent1"/>
                </a:solidFill>
              </a:rPr>
              <a:t>Pepsico</a:t>
            </a:r>
            <a:r>
              <a:rPr lang="en-US" b="1" dirty="0">
                <a:solidFill>
                  <a:schemeClr val="accent1"/>
                </a:solidFill>
              </a:rPr>
              <a:t> plant and </a:t>
            </a:r>
            <a:r>
              <a:rPr lang="en-US" b="1" dirty="0" err="1">
                <a:solidFill>
                  <a:schemeClr val="accent1"/>
                </a:solidFill>
              </a:rPr>
              <a:t>Beaucaire</a:t>
            </a:r>
            <a:r>
              <a:rPr lang="en-US" b="1" dirty="0">
                <a:solidFill>
                  <a:schemeClr val="accent1"/>
                </a:solidFill>
              </a:rPr>
              <a:t> a former Bacardi plant</a:t>
            </a:r>
          </a:p>
          <a:p>
            <a:pPr>
              <a:spcAft>
                <a:spcPts val="1500"/>
              </a:spcAft>
            </a:pPr>
            <a:endParaRPr lang="en-US" b="1" dirty="0">
              <a:solidFill>
                <a:schemeClr val="accent1"/>
              </a:solidFill>
            </a:endParaRPr>
          </a:p>
          <a:p>
            <a:pPr>
              <a:spcAft>
                <a:spcPts val="1500"/>
              </a:spcAft>
            </a:pPr>
            <a:r>
              <a:rPr lang="en-US" b="1" dirty="0">
                <a:solidFill>
                  <a:schemeClr val="accent1"/>
                </a:solidFill>
              </a:rPr>
              <a:t>2011:</a:t>
            </a:r>
            <a:r>
              <a:rPr lang="en-US" dirty="0"/>
              <a:t> Acquisition of Borgloon (BE)</a:t>
            </a:r>
            <a:r>
              <a:rPr lang="aa-ET" dirty="0"/>
              <a:t> plant</a:t>
            </a:r>
          </a:p>
          <a:p>
            <a:pPr>
              <a:spcAft>
                <a:spcPts val="1500"/>
              </a:spcAft>
            </a:pPr>
            <a:r>
              <a:rPr lang="en-US" b="1" dirty="0">
                <a:solidFill>
                  <a:schemeClr val="accent1"/>
                </a:solidFill>
              </a:rPr>
              <a:t>2015:</a:t>
            </a:r>
            <a:r>
              <a:rPr lang="en-US" dirty="0"/>
              <a:t> Acquisition of Breda (NL)</a:t>
            </a:r>
            <a:r>
              <a:rPr lang="aa-ET" dirty="0"/>
              <a:t> plant</a:t>
            </a:r>
          </a:p>
          <a:p>
            <a:pPr>
              <a:spcAft>
                <a:spcPts val="1500"/>
              </a:spcAft>
            </a:pPr>
            <a:r>
              <a:rPr lang="en-US" b="1" dirty="0">
                <a:solidFill>
                  <a:schemeClr val="accent1"/>
                </a:solidFill>
              </a:rPr>
              <a:t>2016:</a:t>
            </a:r>
            <a:r>
              <a:rPr lang="en-US" dirty="0"/>
              <a:t> Acquisition of Boxford (UK)</a:t>
            </a:r>
            <a:r>
              <a:rPr lang="aa-ET" dirty="0"/>
              <a:t> plant</a:t>
            </a:r>
          </a:p>
          <a:p>
            <a:pPr>
              <a:spcAft>
                <a:spcPts val="1500"/>
              </a:spcAft>
            </a:pPr>
            <a:r>
              <a:rPr lang="en-GB" b="1" dirty="0">
                <a:solidFill>
                  <a:schemeClr val="accent1"/>
                </a:solidFill>
              </a:rPr>
              <a:t>2018:</a:t>
            </a:r>
            <a:r>
              <a:rPr lang="en-GB" dirty="0"/>
              <a:t> Acquisition of </a:t>
            </a:r>
            <a:r>
              <a:rPr lang="en-GB" dirty="0" err="1"/>
              <a:t>Beaucaire</a:t>
            </a:r>
            <a:r>
              <a:rPr lang="en-GB" dirty="0"/>
              <a:t> (FR)</a:t>
            </a:r>
            <a:r>
              <a:rPr lang="aa-ET" dirty="0"/>
              <a:t> plant</a:t>
            </a:r>
            <a:endParaRPr lang="nl-NL" dirty="0"/>
          </a:p>
          <a:p>
            <a:pPr>
              <a:spcAft>
                <a:spcPts val="1500"/>
              </a:spcAft>
            </a:pPr>
            <a:r>
              <a:rPr lang="nl-NL" b="1" dirty="0" err="1"/>
              <a:t>And</a:t>
            </a:r>
            <a:r>
              <a:rPr lang="nl-NL" b="1" dirty="0"/>
              <a:t> </a:t>
            </a:r>
            <a:r>
              <a:rPr lang="nl-NL" b="1" dirty="0" err="1"/>
              <a:t>the</a:t>
            </a:r>
            <a:r>
              <a:rPr lang="nl-NL" b="1" dirty="0"/>
              <a:t> last </a:t>
            </a:r>
            <a:r>
              <a:rPr lang="nl-NL" b="1" dirty="0" err="1"/>
              <a:t>feather</a:t>
            </a:r>
            <a:r>
              <a:rPr lang="nl-NL" b="1" dirty="0"/>
              <a:t> in </a:t>
            </a:r>
            <a:r>
              <a:rPr lang="nl-NL" b="1" dirty="0" err="1"/>
              <a:t>our</a:t>
            </a:r>
            <a:r>
              <a:rPr lang="nl-NL" b="1" dirty="0"/>
              <a:t> cap important was </a:t>
            </a:r>
            <a:r>
              <a:rPr lang="nl-NL" b="1" dirty="0" err="1"/>
              <a:t>also</a:t>
            </a:r>
            <a:r>
              <a:rPr lang="nl-NL" b="1" dirty="0"/>
              <a:t> 2020</a:t>
            </a:r>
            <a:r>
              <a:rPr lang="nl-NL" dirty="0"/>
              <a:t> : </a:t>
            </a:r>
            <a:r>
              <a:rPr lang="nl-NL" dirty="0" err="1"/>
              <a:t>When</a:t>
            </a:r>
            <a:r>
              <a:rPr lang="nl-NL" dirty="0"/>
              <a:t> Konings </a:t>
            </a:r>
            <a:r>
              <a:rPr lang="nl-NL" dirty="0" err="1"/>
              <a:t>helped</a:t>
            </a:r>
            <a:r>
              <a:rPr lang="nl-NL" dirty="0"/>
              <a:t> in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pandemic</a:t>
            </a:r>
            <a:r>
              <a:rPr lang="nl-NL" dirty="0"/>
              <a:t> </a:t>
            </a:r>
            <a:r>
              <a:rPr lang="nl-NL" dirty="0" err="1"/>
              <a:t>producing</a:t>
            </a:r>
            <a:r>
              <a:rPr lang="nl-NL" dirty="0"/>
              <a:t> a </a:t>
            </a:r>
            <a:r>
              <a:rPr lang="nl-NL" dirty="0" err="1"/>
              <a:t>Handsanitizer</a:t>
            </a:r>
            <a:endParaRPr lang="nl-NL" dirty="0"/>
          </a:p>
          <a:p>
            <a:pPr>
              <a:spcAft>
                <a:spcPts val="1500"/>
              </a:spcAft>
            </a:pPr>
            <a:endParaRPr lang="nl-NL" dirty="0"/>
          </a:p>
          <a:p>
            <a:pPr>
              <a:spcAft>
                <a:spcPts val="1500"/>
              </a:spcAft>
            </a:pPr>
            <a:r>
              <a:rPr lang="nl-NL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EW: </a:t>
            </a:r>
            <a:r>
              <a:rPr lang="nl-NL" dirty="0">
                <a:solidFill>
                  <a:srgbClr val="FF0000"/>
                </a:solidFill>
              </a:rPr>
              <a:t>In 2022, we </a:t>
            </a:r>
            <a:r>
              <a:rPr lang="nl-NL" dirty="0" err="1">
                <a:solidFill>
                  <a:srgbClr val="FF0000"/>
                </a:solidFill>
              </a:rPr>
              <a:t>will</a:t>
            </a:r>
            <a:r>
              <a:rPr lang="nl-NL" dirty="0">
                <a:solidFill>
                  <a:srgbClr val="FF0000"/>
                </a:solidFill>
              </a:rPr>
              <a:t> start </a:t>
            </a:r>
            <a:r>
              <a:rPr lang="nl-NL" dirty="0" err="1">
                <a:solidFill>
                  <a:srgbClr val="FF0000"/>
                </a:solidFill>
              </a:rPr>
              <a:t>the</a:t>
            </a:r>
            <a:r>
              <a:rPr lang="nl-NL" dirty="0">
                <a:solidFill>
                  <a:srgbClr val="FF0000"/>
                </a:solidFill>
              </a:rPr>
              <a:t> </a:t>
            </a:r>
            <a:r>
              <a:rPr lang="nl-NL" dirty="0" err="1">
                <a:solidFill>
                  <a:srgbClr val="FF0000"/>
                </a:solidFill>
              </a:rPr>
              <a:t>production</a:t>
            </a:r>
            <a:r>
              <a:rPr lang="nl-NL" dirty="0">
                <a:solidFill>
                  <a:srgbClr val="FF0000"/>
                </a:solidFill>
              </a:rPr>
              <a:t> of a brand new, state of </a:t>
            </a:r>
            <a:r>
              <a:rPr lang="nl-NL" dirty="0" err="1">
                <a:solidFill>
                  <a:srgbClr val="FF0000"/>
                </a:solidFill>
              </a:rPr>
              <a:t>the</a:t>
            </a:r>
            <a:r>
              <a:rPr lang="nl-NL" dirty="0">
                <a:solidFill>
                  <a:srgbClr val="FF0000"/>
                </a:solidFill>
              </a:rPr>
              <a:t> art plant in Genk. </a:t>
            </a:r>
            <a:r>
              <a:rPr lang="nl-NL" dirty="0" err="1">
                <a:solidFill>
                  <a:srgbClr val="FF0000"/>
                </a:solidFill>
              </a:rPr>
              <a:t>With</a:t>
            </a:r>
            <a:r>
              <a:rPr lang="nl-NL" dirty="0">
                <a:solidFill>
                  <a:srgbClr val="FF0000"/>
                </a:solidFill>
              </a:rPr>
              <a:t> a </a:t>
            </a:r>
            <a:r>
              <a:rPr lang="nl-NL" dirty="0" err="1">
                <a:solidFill>
                  <a:srgbClr val="FF0000"/>
                </a:solidFill>
              </a:rPr>
              <a:t>capacity</a:t>
            </a:r>
            <a:r>
              <a:rPr lang="nl-NL" dirty="0">
                <a:solidFill>
                  <a:srgbClr val="FF0000"/>
                </a:solidFill>
              </a:rPr>
              <a:t> of 90.000 </a:t>
            </a:r>
            <a:r>
              <a:rPr lang="nl-NL" dirty="0" err="1">
                <a:solidFill>
                  <a:srgbClr val="FF0000"/>
                </a:solidFill>
              </a:rPr>
              <a:t>cans</a:t>
            </a:r>
            <a:r>
              <a:rPr lang="nl-NL" dirty="0">
                <a:solidFill>
                  <a:srgbClr val="FF0000"/>
                </a:solidFill>
              </a:rPr>
              <a:t> per </a:t>
            </a:r>
            <a:r>
              <a:rPr lang="nl-NL" dirty="0" err="1">
                <a:solidFill>
                  <a:srgbClr val="FF0000"/>
                </a:solidFill>
              </a:rPr>
              <a:t>hour</a:t>
            </a:r>
            <a:r>
              <a:rPr lang="nl-NL" dirty="0">
                <a:solidFill>
                  <a:srgbClr val="FF0000"/>
                </a:solidFill>
              </a:rPr>
              <a:t>, </a:t>
            </a:r>
            <a:r>
              <a:rPr lang="nl-NL" dirty="0" err="1">
                <a:solidFill>
                  <a:srgbClr val="FF0000"/>
                </a:solidFill>
              </a:rPr>
              <a:t>this</a:t>
            </a:r>
            <a:r>
              <a:rPr lang="nl-NL" dirty="0">
                <a:solidFill>
                  <a:srgbClr val="FF0000"/>
                </a:solidFill>
              </a:rPr>
              <a:t> new site </a:t>
            </a:r>
            <a:r>
              <a:rPr lang="nl-NL" dirty="0" err="1">
                <a:solidFill>
                  <a:srgbClr val="FF0000"/>
                </a:solidFill>
              </a:rPr>
              <a:t>will</a:t>
            </a:r>
            <a:r>
              <a:rPr lang="nl-NL" dirty="0">
                <a:solidFill>
                  <a:srgbClr val="FF0000"/>
                </a:solidFill>
              </a:rPr>
              <a:t> boost </a:t>
            </a:r>
            <a:r>
              <a:rPr lang="nl-NL" dirty="0" err="1">
                <a:solidFill>
                  <a:srgbClr val="FF0000"/>
                </a:solidFill>
              </a:rPr>
              <a:t>the</a:t>
            </a:r>
            <a:r>
              <a:rPr lang="nl-NL" dirty="0">
                <a:solidFill>
                  <a:srgbClr val="FF0000"/>
                </a:solidFill>
              </a:rPr>
              <a:t> </a:t>
            </a:r>
            <a:r>
              <a:rPr lang="nl-NL" dirty="0" err="1">
                <a:solidFill>
                  <a:srgbClr val="FF0000"/>
                </a:solidFill>
              </a:rPr>
              <a:t>can</a:t>
            </a:r>
            <a:r>
              <a:rPr lang="nl-NL" dirty="0">
                <a:solidFill>
                  <a:srgbClr val="FF0000"/>
                </a:solidFill>
              </a:rPr>
              <a:t> </a:t>
            </a:r>
            <a:r>
              <a:rPr lang="nl-NL" dirty="0" err="1">
                <a:solidFill>
                  <a:srgbClr val="FF0000"/>
                </a:solidFill>
              </a:rPr>
              <a:t>production</a:t>
            </a:r>
            <a:r>
              <a:rPr lang="nl-NL" dirty="0">
                <a:solidFill>
                  <a:srgbClr val="FF0000"/>
                </a:solidFill>
              </a:rPr>
              <a:t> </a:t>
            </a:r>
            <a:r>
              <a:rPr lang="nl-NL" dirty="0" err="1">
                <a:solidFill>
                  <a:srgbClr val="FF0000"/>
                </a:solidFill>
              </a:rPr>
              <a:t>substantially</a:t>
            </a:r>
            <a:r>
              <a:rPr lang="nl-NL" dirty="0">
                <a:solidFill>
                  <a:srgbClr val="FF0000"/>
                </a:solidFill>
              </a:rPr>
              <a:t>.</a:t>
            </a:r>
          </a:p>
          <a:p>
            <a:pPr>
              <a:spcAft>
                <a:spcPts val="1500"/>
              </a:spcAft>
            </a:pPr>
            <a:endParaRPr lang="nl-NL" dirty="0"/>
          </a:p>
          <a:p>
            <a:pPr>
              <a:spcAft>
                <a:spcPts val="1500"/>
              </a:spcAft>
            </a:pPr>
            <a:endParaRPr lang="nl-NL" dirty="0"/>
          </a:p>
          <a:p>
            <a:pPr>
              <a:spcAft>
                <a:spcPts val="1500"/>
              </a:spcAft>
            </a:pPr>
            <a:endParaRPr lang="nl-NL" dirty="0"/>
          </a:p>
          <a:p>
            <a:pPr>
              <a:spcAft>
                <a:spcPts val="1500"/>
              </a:spcAft>
            </a:pPr>
            <a:endParaRPr lang="nl-NL" dirty="0"/>
          </a:p>
          <a:p>
            <a:pPr>
              <a:spcAft>
                <a:spcPts val="1500"/>
              </a:spcAft>
            </a:pPr>
            <a:endParaRPr lang="nl-NL" dirty="0"/>
          </a:p>
          <a:p>
            <a:pPr>
              <a:spcAft>
                <a:spcPts val="1500"/>
              </a:spcAft>
            </a:pPr>
            <a:endParaRPr lang="nl-NL" dirty="0"/>
          </a:p>
          <a:p>
            <a:pPr>
              <a:spcAft>
                <a:spcPts val="1500"/>
              </a:spcAft>
            </a:pPr>
            <a:endParaRPr lang="nl-NL" dirty="0"/>
          </a:p>
          <a:p>
            <a:pPr>
              <a:spcAft>
                <a:spcPts val="1500"/>
              </a:spcAft>
            </a:pPr>
            <a:endParaRPr lang="nl-NL" dirty="0"/>
          </a:p>
          <a:p>
            <a:pPr>
              <a:spcAft>
                <a:spcPts val="1500"/>
              </a:spcAft>
            </a:pPr>
            <a:endParaRPr lang="nl-NL" dirty="0"/>
          </a:p>
          <a:p>
            <a:pPr>
              <a:spcAft>
                <a:spcPts val="1500"/>
              </a:spcAft>
            </a:pPr>
            <a:endParaRPr lang="nl-NL" dirty="0"/>
          </a:p>
          <a:p>
            <a:pPr>
              <a:spcAft>
                <a:spcPts val="1500"/>
              </a:spcAft>
            </a:pPr>
            <a:endParaRPr lang="nl-NL" dirty="0"/>
          </a:p>
          <a:p>
            <a:pPr>
              <a:spcAft>
                <a:spcPts val="1500"/>
              </a:spcAft>
            </a:pPr>
            <a:endParaRPr lang="nl-NL" dirty="0"/>
          </a:p>
          <a:p>
            <a:pPr>
              <a:spcAft>
                <a:spcPts val="1500"/>
              </a:spcAft>
            </a:pPr>
            <a:r>
              <a:rPr lang="nl-NL" dirty="0"/>
              <a:t>x</a:t>
            </a:r>
          </a:p>
          <a:p>
            <a:pPr>
              <a:spcAft>
                <a:spcPts val="1500"/>
              </a:spcAft>
            </a:pPr>
            <a:endParaRPr lang="nl-NL" dirty="0"/>
          </a:p>
          <a:p>
            <a:pPr>
              <a:spcAft>
                <a:spcPts val="1500"/>
              </a:spcAft>
            </a:pPr>
            <a:endParaRPr lang="nl-NL" dirty="0"/>
          </a:p>
          <a:p>
            <a:pPr>
              <a:spcAft>
                <a:spcPts val="1500"/>
              </a:spcAft>
            </a:pPr>
            <a:endParaRPr lang="en-GB" dirty="0"/>
          </a:p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197D68-4265-4930-B3EE-C578518BE8A7}" type="slidenum">
              <a:rPr lang="aa-ET" smtClean="0"/>
              <a:t>4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26319566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There</a:t>
            </a:r>
            <a:r>
              <a:rPr lang="nl-NL" dirty="0"/>
              <a:t> is </a:t>
            </a:r>
            <a:r>
              <a:rPr lang="nl-NL" dirty="0" err="1"/>
              <a:t>our</a:t>
            </a:r>
            <a:r>
              <a:rPr lang="nl-NL" dirty="0"/>
              <a:t> board</a:t>
            </a:r>
          </a:p>
          <a:p>
            <a:endParaRPr lang="nl-NL" dirty="0"/>
          </a:p>
          <a:p>
            <a:r>
              <a:rPr lang="nl-NL" dirty="0"/>
              <a:t>Lead </a:t>
            </a:r>
            <a:r>
              <a:rPr lang="nl-NL" dirty="0" err="1"/>
              <a:t>by</a:t>
            </a:r>
            <a:r>
              <a:rPr lang="nl-NL" dirty="0"/>
              <a:t> a </a:t>
            </a:r>
            <a:r>
              <a:rPr lang="nl-NL" dirty="0" err="1"/>
              <a:t>woman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</a:t>
            </a:r>
            <a:r>
              <a:rPr lang="nl-NL" dirty="0" err="1"/>
              <a:t>impressive</a:t>
            </a:r>
            <a:r>
              <a:rPr lang="nl-NL" dirty="0"/>
              <a:t> track record in sales, marketing, </a:t>
            </a:r>
            <a:r>
              <a:rPr lang="nl-NL" dirty="0" err="1"/>
              <a:t>production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leadership</a:t>
            </a:r>
            <a:r>
              <a:rPr lang="nl-NL" dirty="0"/>
              <a:t> in </a:t>
            </a:r>
            <a:r>
              <a:rPr lang="nl-NL" dirty="0" err="1"/>
              <a:t>general</a:t>
            </a:r>
            <a:endParaRPr lang="nl-NL" dirty="0"/>
          </a:p>
          <a:p>
            <a:endParaRPr lang="nl-NL" dirty="0"/>
          </a:p>
          <a:p>
            <a:r>
              <a:rPr lang="nl-NL" dirty="0"/>
              <a:t>We </a:t>
            </a:r>
            <a:r>
              <a:rPr lang="nl-NL" dirty="0" err="1"/>
              <a:t>also</a:t>
            </a:r>
            <a:r>
              <a:rPr lang="nl-NL" dirty="0"/>
              <a:t>  are </a:t>
            </a:r>
            <a:r>
              <a:rPr lang="nl-NL" dirty="0" err="1"/>
              <a:t>very</a:t>
            </a:r>
            <a:r>
              <a:rPr lang="nl-NL" dirty="0"/>
              <a:t> </a:t>
            </a:r>
            <a:r>
              <a:rPr lang="nl-NL" dirty="0" err="1"/>
              <a:t>lucky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have </a:t>
            </a:r>
            <a:r>
              <a:rPr lang="nl-NL" dirty="0" err="1"/>
              <a:t>all</a:t>
            </a:r>
            <a:r>
              <a:rPr lang="nl-NL" dirty="0"/>
              <a:t> 4 of </a:t>
            </a:r>
            <a:r>
              <a:rPr lang="nl-NL" dirty="0" err="1"/>
              <a:t>the</a:t>
            </a:r>
            <a:r>
              <a:rPr lang="nl-NL" dirty="0"/>
              <a:t> </a:t>
            </a:r>
            <a:r>
              <a:rPr lang="nl-NL" dirty="0" err="1"/>
              <a:t>owners</a:t>
            </a:r>
            <a:r>
              <a:rPr lang="nl-NL" dirty="0"/>
              <a:t> </a:t>
            </a:r>
            <a:r>
              <a:rPr lang="nl-NL" dirty="0" err="1"/>
              <a:t>still</a:t>
            </a:r>
            <a:r>
              <a:rPr lang="nl-NL" dirty="0"/>
              <a:t> in </a:t>
            </a:r>
            <a:r>
              <a:rPr lang="nl-NL" dirty="0" err="1"/>
              <a:t>our</a:t>
            </a:r>
            <a:r>
              <a:rPr lang="nl-NL" dirty="0"/>
              <a:t> board, </a:t>
            </a:r>
            <a:r>
              <a:rPr lang="nl-NL" dirty="0" err="1"/>
              <a:t>their</a:t>
            </a:r>
            <a:r>
              <a:rPr lang="nl-NL" dirty="0"/>
              <a:t> </a:t>
            </a:r>
            <a:r>
              <a:rPr lang="nl-NL" dirty="0" err="1"/>
              <a:t>knowledge</a:t>
            </a:r>
            <a:r>
              <a:rPr lang="nl-NL" dirty="0"/>
              <a:t> is </a:t>
            </a:r>
            <a:r>
              <a:rPr lang="nl-NL" dirty="0" err="1"/>
              <a:t>encyclopedic</a:t>
            </a:r>
            <a:endParaRPr lang="nl-NL" dirty="0"/>
          </a:p>
          <a:p>
            <a:endParaRPr lang="nl-NL" dirty="0"/>
          </a:p>
          <a:p>
            <a:r>
              <a:rPr lang="nl-NL" dirty="0" err="1"/>
              <a:t>Also</a:t>
            </a:r>
            <a:r>
              <a:rPr lang="nl-NL" dirty="0"/>
              <a:t> </a:t>
            </a:r>
            <a:r>
              <a:rPr lang="nl-NL" dirty="0" err="1"/>
              <a:t>our</a:t>
            </a:r>
            <a:r>
              <a:rPr lang="nl-NL" dirty="0"/>
              <a:t> </a:t>
            </a:r>
            <a:r>
              <a:rPr lang="nl-NL" dirty="0" err="1"/>
              <a:t>current</a:t>
            </a:r>
            <a:r>
              <a:rPr lang="nl-NL" dirty="0"/>
              <a:t> Chief </a:t>
            </a:r>
            <a:r>
              <a:rPr lang="nl-NL" dirty="0" err="1"/>
              <a:t>ecxecutive</a:t>
            </a:r>
            <a:r>
              <a:rPr lang="nl-NL" dirty="0"/>
              <a:t> </a:t>
            </a:r>
            <a:r>
              <a:rPr lang="nl-NL" dirty="0" err="1"/>
              <a:t>officer</a:t>
            </a:r>
            <a:r>
              <a:rPr lang="nl-NL" dirty="0"/>
              <a:t>  has been part of </a:t>
            </a:r>
            <a:r>
              <a:rPr lang="nl-NL" dirty="0" err="1"/>
              <a:t>the</a:t>
            </a:r>
            <a:r>
              <a:rPr lang="nl-NL" dirty="0"/>
              <a:t> Board </a:t>
            </a:r>
            <a:r>
              <a:rPr lang="nl-NL" dirty="0" err="1"/>
              <a:t>before</a:t>
            </a:r>
            <a:r>
              <a:rPr lang="nl-NL" dirty="0"/>
              <a:t> he </a:t>
            </a:r>
            <a:r>
              <a:rPr lang="nl-NL" dirty="0" err="1"/>
              <a:t>came</a:t>
            </a:r>
            <a:r>
              <a:rPr lang="nl-NL" dirty="0"/>
              <a:t> on board as </a:t>
            </a:r>
            <a:r>
              <a:rPr lang="nl-NL" dirty="0" err="1"/>
              <a:t>our</a:t>
            </a:r>
            <a:r>
              <a:rPr lang="nl-NL" dirty="0"/>
              <a:t> CEO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proves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a big advantage</a:t>
            </a:r>
          </a:p>
          <a:p>
            <a:endParaRPr lang="nl-NL" dirty="0"/>
          </a:p>
          <a:p>
            <a:r>
              <a:rPr lang="nl-NL" dirty="0"/>
              <a:t>Update </a:t>
            </a:r>
            <a:r>
              <a:rPr lang="nl-NL" dirty="0" err="1"/>
              <a:t>dd</a:t>
            </a:r>
            <a:r>
              <a:rPr lang="nl-NL" dirty="0"/>
              <a:t> 28/02/22 (FVDB)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r>
              <a:rPr lang="nl-NL" dirty="0"/>
              <a:t>x</a:t>
            </a:r>
            <a:endParaRPr lang="nl-BE" dirty="0"/>
          </a:p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197D68-4265-4930-B3EE-C578518BE8A7}" type="slidenum">
              <a:rPr lang="aa-ET" smtClean="0"/>
              <a:t>5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22633831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We have </a:t>
            </a:r>
            <a:r>
              <a:rPr lang="nl-NL" dirty="0" err="1"/>
              <a:t>come</a:t>
            </a:r>
            <a:r>
              <a:rPr lang="nl-NL" dirty="0"/>
              <a:t> a long way</a:t>
            </a:r>
          </a:p>
          <a:p>
            <a:endParaRPr lang="nl-NL" dirty="0"/>
          </a:p>
          <a:p>
            <a:r>
              <a:rPr lang="nl-NL" dirty="0"/>
              <a:t>In 2008 we </a:t>
            </a:r>
            <a:r>
              <a:rPr lang="nl-NL" dirty="0" err="1"/>
              <a:t>did</a:t>
            </a:r>
            <a:r>
              <a:rPr lang="nl-NL" dirty="0"/>
              <a:t> 50 m € turnover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today</a:t>
            </a:r>
            <a:r>
              <a:rPr lang="nl-NL" dirty="0"/>
              <a:t> 240 m €</a:t>
            </a:r>
          </a:p>
          <a:p>
            <a:endParaRPr lang="nl-NL" dirty="0"/>
          </a:p>
          <a:p>
            <a:r>
              <a:rPr lang="nl-NL" dirty="0"/>
              <a:t>But </a:t>
            </a:r>
            <a:r>
              <a:rPr lang="nl-NL" dirty="0" err="1"/>
              <a:t>what</a:t>
            </a:r>
            <a:r>
              <a:rPr lang="nl-NL" dirty="0"/>
              <a:t> lies </a:t>
            </a:r>
            <a:r>
              <a:rPr lang="nl-NL" dirty="0" err="1"/>
              <a:t>beneath</a:t>
            </a:r>
            <a:r>
              <a:rPr lang="nl-NL" dirty="0"/>
              <a:t> a </a:t>
            </a:r>
            <a:r>
              <a:rPr lang="nl-NL" dirty="0" err="1"/>
              <a:t>growth</a:t>
            </a:r>
            <a:r>
              <a:rPr lang="nl-NL" dirty="0"/>
              <a:t> like </a:t>
            </a:r>
            <a:r>
              <a:rPr lang="nl-NL" dirty="0" err="1"/>
              <a:t>this</a:t>
            </a:r>
            <a:r>
              <a:rPr lang="nl-NL" dirty="0"/>
              <a:t> … are </a:t>
            </a:r>
            <a:r>
              <a:rPr lang="nl-NL" dirty="0" err="1"/>
              <a:t>always</a:t>
            </a:r>
            <a:r>
              <a:rPr lang="nl-NL" dirty="0"/>
              <a:t> </a:t>
            </a:r>
            <a:r>
              <a:rPr lang="nl-NL" dirty="0" err="1"/>
              <a:t>people</a:t>
            </a:r>
            <a:r>
              <a:rPr lang="nl-NL" dirty="0"/>
              <a:t> &amp; </a:t>
            </a:r>
            <a:r>
              <a:rPr lang="nl-NL" dirty="0" err="1"/>
              <a:t>the</a:t>
            </a:r>
            <a:r>
              <a:rPr lang="nl-NL" dirty="0"/>
              <a:t> right </a:t>
            </a:r>
            <a:r>
              <a:rPr lang="nl-NL" dirty="0" err="1"/>
              <a:t>investements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leads </a:t>
            </a:r>
            <a:r>
              <a:rPr lang="nl-NL" dirty="0" err="1"/>
              <a:t>to</a:t>
            </a:r>
            <a:r>
              <a:rPr lang="nl-NL" dirty="0"/>
              <a:t>  </a:t>
            </a:r>
            <a:r>
              <a:rPr lang="nl-NL" dirty="0" err="1"/>
              <a:t>our</a:t>
            </a:r>
            <a:r>
              <a:rPr lang="nl-NL" dirty="0"/>
              <a:t> </a:t>
            </a:r>
            <a:r>
              <a:rPr lang="nl-NL" dirty="0" err="1"/>
              <a:t>roa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success</a:t>
            </a:r>
            <a:endParaRPr lang="nl-NL" dirty="0"/>
          </a:p>
          <a:p>
            <a:endParaRPr lang="nl-NL" dirty="0"/>
          </a:p>
          <a:p>
            <a:r>
              <a:rPr lang="nl-NL" dirty="0" err="1"/>
              <a:t>Updated</a:t>
            </a:r>
            <a:r>
              <a:rPr lang="nl-NL" baseline="0" dirty="0"/>
              <a:t> </a:t>
            </a:r>
            <a:r>
              <a:rPr lang="nl-NL" baseline="0" dirty="0" err="1"/>
              <a:t>with</a:t>
            </a:r>
            <a:r>
              <a:rPr lang="nl-NL" baseline="0" dirty="0"/>
              <a:t> 2021 </a:t>
            </a:r>
            <a:r>
              <a:rPr lang="nl-NL" baseline="0" dirty="0" err="1"/>
              <a:t>figures</a:t>
            </a:r>
            <a:r>
              <a:rPr lang="nl-NL" baseline="0" dirty="0"/>
              <a:t> on 28/02/2022 (FVDB)</a:t>
            </a:r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r>
              <a:rPr lang="nl-NL" dirty="0"/>
              <a:t>x</a:t>
            </a:r>
            <a:endParaRPr lang="nl-BE" dirty="0"/>
          </a:p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197D68-4265-4930-B3EE-C578518BE8A7}" type="slidenum">
              <a:rPr lang="aa-ET" smtClean="0"/>
              <a:t>6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21352588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We are </a:t>
            </a:r>
            <a:r>
              <a:rPr lang="nl-NL" dirty="0" err="1"/>
              <a:t>very</a:t>
            </a:r>
            <a:r>
              <a:rPr lang="nl-NL" dirty="0"/>
              <a:t> </a:t>
            </a:r>
            <a:r>
              <a:rPr lang="nl-NL" dirty="0" err="1"/>
              <a:t>proud</a:t>
            </a:r>
            <a:r>
              <a:rPr lang="nl-NL" dirty="0"/>
              <a:t> of </a:t>
            </a:r>
            <a:r>
              <a:rPr lang="nl-NL" dirty="0" err="1"/>
              <a:t>our</a:t>
            </a:r>
            <a:r>
              <a:rPr lang="nl-NL" dirty="0"/>
              <a:t> state of </a:t>
            </a:r>
            <a:r>
              <a:rPr lang="nl-NL" dirty="0" err="1"/>
              <a:t>the</a:t>
            </a:r>
            <a:r>
              <a:rPr lang="nl-NL" dirty="0"/>
              <a:t> art </a:t>
            </a:r>
            <a:r>
              <a:rPr lang="nl-NL" dirty="0" err="1"/>
              <a:t>production</a:t>
            </a:r>
            <a:r>
              <a:rPr lang="nl-NL" dirty="0"/>
              <a:t> </a:t>
            </a:r>
            <a:r>
              <a:rPr lang="nl-NL" dirty="0" err="1"/>
              <a:t>facilities</a:t>
            </a:r>
            <a:r>
              <a:rPr lang="nl-NL" dirty="0"/>
              <a:t>.</a:t>
            </a:r>
          </a:p>
          <a:p>
            <a:endParaRPr lang="nl-NL" dirty="0"/>
          </a:p>
          <a:p>
            <a:r>
              <a:rPr lang="nl-NL" dirty="0" err="1"/>
              <a:t>They</a:t>
            </a:r>
            <a:r>
              <a:rPr lang="nl-NL" dirty="0"/>
              <a:t> are </a:t>
            </a:r>
            <a:r>
              <a:rPr lang="nl-NL" dirty="0" err="1"/>
              <a:t>specialized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also</a:t>
            </a:r>
            <a:r>
              <a:rPr lang="nl-NL" dirty="0"/>
              <a:t> </a:t>
            </a:r>
            <a:r>
              <a:rPr lang="nl-NL" dirty="0" err="1"/>
              <a:t>highly</a:t>
            </a:r>
            <a:r>
              <a:rPr lang="nl-NL" dirty="0"/>
              <a:t> </a:t>
            </a:r>
            <a:r>
              <a:rPr lang="nl-NL" dirty="0" err="1"/>
              <a:t>knowledgeable</a:t>
            </a:r>
            <a:r>
              <a:rPr lang="nl-NL" dirty="0"/>
              <a:t> </a:t>
            </a:r>
            <a:r>
              <a:rPr lang="nl-NL" dirty="0" err="1"/>
              <a:t>about</a:t>
            </a:r>
            <a:r>
              <a:rPr lang="nl-NL" dirty="0"/>
              <a:t> </a:t>
            </a:r>
            <a:r>
              <a:rPr lang="nl-NL" dirty="0" err="1"/>
              <a:t>not</a:t>
            </a:r>
            <a:r>
              <a:rPr lang="nl-NL" dirty="0"/>
              <a:t> </a:t>
            </a:r>
            <a:r>
              <a:rPr lang="nl-NL" dirty="0" err="1"/>
              <a:t>only</a:t>
            </a:r>
            <a:r>
              <a:rPr lang="nl-NL" dirty="0"/>
              <a:t> a large </a:t>
            </a:r>
            <a:r>
              <a:rPr lang="nl-NL" dirty="0" err="1"/>
              <a:t>variety</a:t>
            </a:r>
            <a:r>
              <a:rPr lang="nl-NL" dirty="0"/>
              <a:t> of drinks but </a:t>
            </a:r>
            <a:r>
              <a:rPr lang="nl-NL" dirty="0" err="1"/>
              <a:t>also</a:t>
            </a:r>
            <a:r>
              <a:rPr lang="nl-NL" dirty="0"/>
              <a:t> </a:t>
            </a:r>
            <a:r>
              <a:rPr lang="nl-NL" dirty="0" err="1"/>
              <a:t>about</a:t>
            </a:r>
            <a:r>
              <a:rPr lang="nl-NL" dirty="0"/>
              <a:t> </a:t>
            </a:r>
            <a:r>
              <a:rPr lang="nl-NL" dirty="0" err="1"/>
              <a:t>all</a:t>
            </a:r>
            <a:r>
              <a:rPr lang="nl-NL" dirty="0"/>
              <a:t> different kinds of </a:t>
            </a:r>
            <a:r>
              <a:rPr lang="nl-NL" dirty="0" err="1"/>
              <a:t>possible</a:t>
            </a:r>
            <a:r>
              <a:rPr lang="nl-NL" dirty="0"/>
              <a:t> </a:t>
            </a:r>
            <a:r>
              <a:rPr lang="nl-NL" dirty="0" err="1"/>
              <a:t>packaging</a:t>
            </a:r>
            <a:r>
              <a:rPr lang="nl-NL" dirty="0"/>
              <a:t>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those</a:t>
            </a:r>
            <a:r>
              <a:rPr lang="nl-NL" dirty="0"/>
              <a:t> drinks</a:t>
            </a:r>
          </a:p>
          <a:p>
            <a:endParaRPr lang="nl-NL" dirty="0"/>
          </a:p>
          <a:p>
            <a:r>
              <a:rPr lang="nl-NL" dirty="0"/>
              <a:t>We </a:t>
            </a:r>
            <a:r>
              <a:rPr lang="nl-NL" dirty="0" err="1"/>
              <a:t>did</a:t>
            </a:r>
            <a:r>
              <a:rPr lang="nl-NL" dirty="0"/>
              <a:t> </a:t>
            </a:r>
            <a:r>
              <a:rPr lang="nl-NL" dirty="0" err="1"/>
              <a:t>invest</a:t>
            </a:r>
            <a:r>
              <a:rPr lang="nl-NL" dirty="0"/>
              <a:t> a lot of money over </a:t>
            </a:r>
            <a:r>
              <a:rPr lang="nl-NL" dirty="0" err="1"/>
              <a:t>the</a:t>
            </a:r>
            <a:r>
              <a:rPr lang="nl-NL" dirty="0"/>
              <a:t> last 10 y </a:t>
            </a:r>
            <a:r>
              <a:rPr lang="nl-NL" dirty="0" err="1"/>
              <a:t>though</a:t>
            </a:r>
            <a:r>
              <a:rPr lang="nl-NL" dirty="0"/>
              <a:t> , 150 m €</a:t>
            </a:r>
          </a:p>
          <a:p>
            <a:endParaRPr lang="nl-NL" dirty="0"/>
          </a:p>
          <a:p>
            <a:r>
              <a:rPr lang="nl-NL" dirty="0"/>
              <a:t>But </a:t>
            </a:r>
            <a:r>
              <a:rPr lang="nl-NL" dirty="0" err="1"/>
              <a:t>our</a:t>
            </a:r>
            <a:r>
              <a:rPr lang="nl-NL" dirty="0"/>
              <a:t> assets are in top </a:t>
            </a:r>
            <a:r>
              <a:rPr lang="nl-NL" dirty="0" err="1"/>
              <a:t>condition</a:t>
            </a:r>
            <a:r>
              <a:rPr lang="nl-NL" dirty="0"/>
              <a:t>, ready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next </a:t>
            </a:r>
            <a:r>
              <a:rPr lang="nl-NL" dirty="0" err="1"/>
              <a:t>generations</a:t>
            </a:r>
            <a:r>
              <a:rPr lang="nl-NL" dirty="0"/>
              <a:t> of drinks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r>
              <a:rPr lang="nl-NL" dirty="0"/>
              <a:t>x</a:t>
            </a:r>
            <a:endParaRPr lang="nl-BE" dirty="0"/>
          </a:p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197D68-4265-4930-B3EE-C578518BE8A7}" type="slidenum">
              <a:rPr lang="aa-ET" smtClean="0"/>
              <a:t>7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33352876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b="0" i="0" dirty="0">
              <a:solidFill>
                <a:srgbClr val="333333"/>
              </a:solidFill>
              <a:effectLst/>
              <a:latin typeface="Ubuntu" panose="020B0504030602030204" pitchFamily="34" charset="0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D9D55F-6F0C-46A4-B816-6C65B0E9F833}" type="slidenum">
              <a:rPr lang="nl-BE" smtClean="0"/>
              <a:t>8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3340472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b="0" i="0" dirty="0">
              <a:solidFill>
                <a:srgbClr val="333333"/>
              </a:solidFill>
              <a:effectLst/>
              <a:latin typeface="Ubuntu" panose="020B0504030602030204" pitchFamily="34" charset="0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D9D55F-6F0C-46A4-B816-6C65B0E9F833}" type="slidenum">
              <a:rPr lang="nl-BE" smtClean="0"/>
              <a:t>9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212082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P PRES TOC/Agen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49DD05-9393-49BF-9C76-B602191C53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bg2"/>
                </a:solidFill>
              </a:defRPr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70F28A1F-A43D-4C3D-A579-9705BED831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86E09-06C7-424B-9E59-AEA84299AADE}" type="datetimeFigureOut">
              <a:rPr lang="aa-ET" smtClean="0"/>
              <a:t>05/24/2022</a:t>
            </a:fld>
            <a:endParaRPr lang="aa-ET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4C1D3183-5A4C-4A36-A537-631766E98F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7852B347-20CC-4CD5-B0C5-378AE1AB7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2525C336-A479-4D26-A0C0-0EE1BB6FD1B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6588" y="1440000"/>
            <a:ext cx="10918826" cy="4352400"/>
          </a:xfrm>
        </p:spPr>
        <p:txBody>
          <a:bodyPr anchor="t" anchorCtr="0"/>
          <a:lstStyle>
            <a:lvl1pPr marL="630000" indent="-630000">
              <a:spcBef>
                <a:spcPts val="2500"/>
              </a:spcBef>
              <a:buFont typeface="+mj-lt"/>
              <a:buAutoNum type="arabicPeriod"/>
              <a:defRPr sz="3500" b="0">
                <a:latin typeface="+mj-lt"/>
              </a:defRPr>
            </a:lvl1pPr>
            <a:lvl2pPr marL="630000" indent="0">
              <a:lnSpc>
                <a:spcPts val="3500"/>
              </a:lnSpc>
              <a:spcBef>
                <a:spcPts val="0"/>
              </a:spcBef>
              <a:buNone/>
              <a:defRPr sz="2500" b="1" cap="none" spc="200" baseline="0">
                <a:solidFill>
                  <a:schemeClr val="bg2"/>
                </a:solidFill>
                <a:latin typeface="+mj-lt"/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</p:txBody>
      </p:sp>
    </p:spTree>
    <p:extLst>
      <p:ext uri="{BB962C8B-B14F-4D97-AF65-F5344CB8AC3E}">
        <p14:creationId xmlns:p14="http://schemas.microsoft.com/office/powerpoint/2010/main" val="14466989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ople inver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B7F05F80-BF6B-423C-B9B8-B5FF11EEDEA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963941" y="2066995"/>
            <a:ext cx="1785905" cy="1894371"/>
          </a:xfrm>
          <a:custGeom>
            <a:avLst/>
            <a:gdLst>
              <a:gd name="connsiteX0" fmla="*/ 684327 w 1785905"/>
              <a:gd name="connsiteY0" fmla="*/ 112 h 1894371"/>
              <a:gd name="connsiteX1" fmla="*/ 1604022 w 1785905"/>
              <a:gd name="connsiteY1" fmla="*/ 474010 h 1894371"/>
              <a:gd name="connsiteX2" fmla="*/ 1552196 w 1785905"/>
              <a:gd name="connsiteY2" fmla="*/ 1428498 h 1894371"/>
              <a:gd name="connsiteX3" fmla="*/ 288332 w 1785905"/>
              <a:gd name="connsiteY3" fmla="*/ 1761395 h 1894371"/>
              <a:gd name="connsiteX4" fmla="*/ 2565 w 1785905"/>
              <a:gd name="connsiteY4" fmla="*/ 480887 h 1894371"/>
              <a:gd name="connsiteX5" fmla="*/ 684327 w 1785905"/>
              <a:gd name="connsiteY5" fmla="*/ 112 h 1894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85905" h="1894371">
                <a:moveTo>
                  <a:pt x="684327" y="112"/>
                </a:moveTo>
                <a:cubicBezTo>
                  <a:pt x="1134514" y="7250"/>
                  <a:pt x="1351793" y="209730"/>
                  <a:pt x="1604022" y="474010"/>
                </a:cubicBezTo>
                <a:cubicBezTo>
                  <a:pt x="1856253" y="738308"/>
                  <a:pt x="1852700" y="1138758"/>
                  <a:pt x="1552196" y="1428498"/>
                </a:cubicBezTo>
                <a:cubicBezTo>
                  <a:pt x="1251683" y="1718230"/>
                  <a:pt x="489173" y="2100332"/>
                  <a:pt x="288332" y="1761395"/>
                </a:cubicBezTo>
                <a:cubicBezTo>
                  <a:pt x="87493" y="1422440"/>
                  <a:pt x="-18152" y="802619"/>
                  <a:pt x="2565" y="480887"/>
                </a:cubicBezTo>
                <a:cubicBezTo>
                  <a:pt x="23287" y="159169"/>
                  <a:pt x="368135" y="-4911"/>
                  <a:pt x="684327" y="112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8353E03-929D-4C6B-83C0-C5061C1152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2000" y="633600"/>
            <a:ext cx="5760000" cy="270000"/>
          </a:xfrm>
        </p:spPr>
        <p:txBody>
          <a:bodyPr/>
          <a:lstStyle>
            <a:lvl1pPr>
              <a:defRPr sz="1600" spc="200" baseline="0">
                <a:gradFill>
                  <a:gsLst>
                    <a:gs pos="4000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26DDCCF-8058-45D1-93FE-BE26A66E0C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86E09-06C7-424B-9E59-AEA84299AADE}" type="datetimeFigureOut">
              <a:rPr lang="aa-ET" smtClean="0"/>
              <a:t>05/24/2022</a:t>
            </a:fld>
            <a:endParaRPr lang="aa-ET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ED99D6D-401E-4498-A866-4ED366B82D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19C79AB-2DA3-408D-A4A1-96C17BD2B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C2DC17B-CD24-49BA-BF1C-B4B079E6CAC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7200" y="4370400"/>
            <a:ext cx="1872000" cy="4716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800" b="1" i="0" cap="none" spc="150" baseline="0">
                <a:solidFill>
                  <a:schemeClr val="accent1"/>
                </a:solidFill>
                <a:latin typeface="+mj-lt"/>
              </a:defRPr>
            </a:lvl2pPr>
            <a:lvl3pPr indent="0" algn="ctr">
              <a:buNone/>
              <a:defRPr/>
            </a:lvl3pPr>
            <a:lvl4pPr indent="0" algn="ctr">
              <a:buNone/>
              <a:defRPr/>
            </a:lvl4pPr>
            <a:lvl5pPr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CC7F4290-695F-4AB6-BDEB-B5C106E522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91700" y="4370400"/>
            <a:ext cx="1872000" cy="4716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800" b="1" i="0" cap="none" spc="150" baseline="0">
                <a:solidFill>
                  <a:schemeClr val="accent1"/>
                </a:solidFill>
                <a:latin typeface="+mj-lt"/>
              </a:defRPr>
            </a:lvl2pPr>
            <a:lvl3pPr indent="0" algn="ctr">
              <a:buNone/>
              <a:defRPr/>
            </a:lvl3pPr>
            <a:lvl4pPr indent="0" algn="ctr">
              <a:buNone/>
              <a:defRPr/>
            </a:lvl4pPr>
            <a:lvl5pPr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F6A159FE-980D-42D8-957F-63D98D67D9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46200" y="4370400"/>
            <a:ext cx="1872000" cy="4716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800" b="1" i="0" cap="none" spc="150" baseline="0">
                <a:solidFill>
                  <a:schemeClr val="accent1"/>
                </a:solidFill>
                <a:latin typeface="+mj-lt"/>
              </a:defRPr>
            </a:lvl2pPr>
            <a:lvl3pPr indent="0" algn="ctr">
              <a:buNone/>
              <a:defRPr/>
            </a:lvl3pPr>
            <a:lvl4pPr indent="0" algn="ctr">
              <a:buNone/>
              <a:defRPr/>
            </a:lvl4pPr>
            <a:lvl5pPr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E913ECA-1C96-4D8D-B9DD-5B4A5B84BE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400700" y="4370400"/>
            <a:ext cx="1872000" cy="4716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800" b="1" i="0" cap="none" spc="150" baseline="0">
                <a:solidFill>
                  <a:schemeClr val="accent1"/>
                </a:solidFill>
                <a:latin typeface="+mj-lt"/>
              </a:defRPr>
            </a:lvl2pPr>
            <a:lvl3pPr indent="0" algn="ctr">
              <a:buNone/>
              <a:defRPr/>
            </a:lvl3pPr>
            <a:lvl4pPr indent="0" algn="ctr">
              <a:buNone/>
              <a:defRPr/>
            </a:lvl4pPr>
            <a:lvl5pPr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D439C973-CD81-482A-AC26-F0628345578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55200" y="4370400"/>
            <a:ext cx="1872000" cy="4716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800" b="1" i="0" cap="none" spc="150" baseline="0">
                <a:solidFill>
                  <a:schemeClr val="accent1"/>
                </a:solidFill>
                <a:latin typeface="+mj-lt"/>
              </a:defRPr>
            </a:lvl2pPr>
            <a:lvl3pPr indent="0" algn="ctr">
              <a:buNone/>
              <a:defRPr/>
            </a:lvl3pPr>
            <a:lvl4pPr indent="0" algn="ctr">
              <a:buNone/>
              <a:defRPr/>
            </a:lvl4pPr>
            <a:lvl5pPr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41EBB5C-D17A-460C-B06D-61E1B286B2C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7201" y="2087320"/>
            <a:ext cx="1877175" cy="1853720"/>
          </a:xfrm>
          <a:custGeom>
            <a:avLst/>
            <a:gdLst>
              <a:gd name="connsiteX0" fmla="*/ 988272 w 1877175"/>
              <a:gd name="connsiteY0" fmla="*/ 1482 h 1853720"/>
              <a:gd name="connsiteX1" fmla="*/ 1250836 w 1877175"/>
              <a:gd name="connsiteY1" fmla="*/ 4461 h 1853720"/>
              <a:gd name="connsiteX2" fmla="*/ 1876599 w 1877175"/>
              <a:gd name="connsiteY2" fmla="*/ 727064 h 1853720"/>
              <a:gd name="connsiteX3" fmla="*/ 1198701 w 1877175"/>
              <a:gd name="connsiteY3" fmla="*/ 1844483 h 1853720"/>
              <a:gd name="connsiteX4" fmla="*/ 103622 w 1877175"/>
              <a:gd name="connsiteY4" fmla="*/ 1121873 h 1853720"/>
              <a:gd name="connsiteX5" fmla="*/ 260066 w 1877175"/>
              <a:gd name="connsiteY5" fmla="*/ 302441 h 1853720"/>
              <a:gd name="connsiteX6" fmla="*/ 988272 w 1877175"/>
              <a:gd name="connsiteY6" fmla="*/ 1482 h 1853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77175" h="1853720">
                <a:moveTo>
                  <a:pt x="988272" y="1482"/>
                </a:moveTo>
                <a:cubicBezTo>
                  <a:pt x="1072579" y="-1725"/>
                  <a:pt x="1159581" y="738"/>
                  <a:pt x="1250836" y="4461"/>
                </a:cubicBezTo>
                <a:cubicBezTo>
                  <a:pt x="1615873" y="19367"/>
                  <a:pt x="1891493" y="309894"/>
                  <a:pt x="1876599" y="727064"/>
                </a:cubicBezTo>
                <a:cubicBezTo>
                  <a:pt x="1861693" y="1144233"/>
                  <a:pt x="1578619" y="1948778"/>
                  <a:pt x="1198701" y="1844483"/>
                </a:cubicBezTo>
                <a:cubicBezTo>
                  <a:pt x="818772" y="1740174"/>
                  <a:pt x="312213" y="1367699"/>
                  <a:pt x="103622" y="1121873"/>
                </a:cubicBezTo>
                <a:cubicBezTo>
                  <a:pt x="-104956" y="876054"/>
                  <a:pt x="29127" y="518473"/>
                  <a:pt x="260066" y="302441"/>
                </a:cubicBezTo>
                <a:cubicBezTo>
                  <a:pt x="506663" y="71747"/>
                  <a:pt x="735348" y="11103"/>
                  <a:pt x="988272" y="1482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E3F447A8-7D48-4583-BBD5-21751174B87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107804" y="2142792"/>
            <a:ext cx="1858465" cy="1742777"/>
          </a:xfrm>
          <a:custGeom>
            <a:avLst/>
            <a:gdLst>
              <a:gd name="connsiteX0" fmla="*/ 1105433 w 1858465"/>
              <a:gd name="connsiteY0" fmla="*/ 3003 h 1742777"/>
              <a:gd name="connsiteX1" fmla="*/ 1638922 w 1858465"/>
              <a:gd name="connsiteY1" fmla="*/ 379412 h 1742777"/>
              <a:gd name="connsiteX2" fmla="*/ 1633363 w 1858465"/>
              <a:gd name="connsiteY2" fmla="*/ 1686370 h 1742777"/>
              <a:gd name="connsiteX3" fmla="*/ 322526 w 1858465"/>
              <a:gd name="connsiteY3" fmla="*/ 1630980 h 1742777"/>
              <a:gd name="connsiteX4" fmla="*/ 34586 w 1858465"/>
              <a:gd name="connsiteY4" fmla="*/ 848015 h 1742777"/>
              <a:gd name="connsiteX5" fmla="*/ 730370 w 1858465"/>
              <a:gd name="connsiteY5" fmla="*/ 82312 h 1742777"/>
              <a:gd name="connsiteX6" fmla="*/ 1105433 w 1858465"/>
              <a:gd name="connsiteY6" fmla="*/ 3003 h 174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65" h="1742777">
                <a:moveTo>
                  <a:pt x="1105433" y="3003"/>
                </a:moveTo>
                <a:cubicBezTo>
                  <a:pt x="1314513" y="23694"/>
                  <a:pt x="1512615" y="151127"/>
                  <a:pt x="1638922" y="379412"/>
                </a:cubicBezTo>
                <a:cubicBezTo>
                  <a:pt x="1841003" y="744673"/>
                  <a:pt x="2012733" y="1580096"/>
                  <a:pt x="1633363" y="1686370"/>
                </a:cubicBezTo>
                <a:cubicBezTo>
                  <a:pt x="1253977" y="1792638"/>
                  <a:pt x="627933" y="1734262"/>
                  <a:pt x="322526" y="1630980"/>
                </a:cubicBezTo>
                <a:cubicBezTo>
                  <a:pt x="17133" y="1527698"/>
                  <a:pt x="-52103" y="1152133"/>
                  <a:pt x="34586" y="848015"/>
                </a:cubicBezTo>
                <a:cubicBezTo>
                  <a:pt x="157997" y="415015"/>
                  <a:pt x="409814" y="257546"/>
                  <a:pt x="730370" y="82312"/>
                </a:cubicBezTo>
                <a:cubicBezTo>
                  <a:pt x="850586" y="16600"/>
                  <a:pt x="979986" y="-9412"/>
                  <a:pt x="1105433" y="3003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B949A7FA-7F34-4EF5-BD02-5B7BB86E004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370609" y="2087320"/>
            <a:ext cx="1877175" cy="1853720"/>
          </a:xfrm>
          <a:custGeom>
            <a:avLst/>
            <a:gdLst>
              <a:gd name="connsiteX0" fmla="*/ 608417 w 1877175"/>
              <a:gd name="connsiteY0" fmla="*/ 17 h 1853720"/>
              <a:gd name="connsiteX1" fmla="*/ 678475 w 1877175"/>
              <a:gd name="connsiteY1" fmla="*/ 9238 h 1853720"/>
              <a:gd name="connsiteX2" fmla="*/ 1773554 w 1877175"/>
              <a:gd name="connsiteY2" fmla="*/ 731848 h 1853720"/>
              <a:gd name="connsiteX3" fmla="*/ 1617110 w 1877175"/>
              <a:gd name="connsiteY3" fmla="*/ 1551280 h 1853720"/>
              <a:gd name="connsiteX4" fmla="*/ 626340 w 1877175"/>
              <a:gd name="connsiteY4" fmla="*/ 1849260 h 1853720"/>
              <a:gd name="connsiteX5" fmla="*/ 577 w 1877175"/>
              <a:gd name="connsiteY5" fmla="*/ 1126657 h 1853720"/>
              <a:gd name="connsiteX6" fmla="*/ 608417 w 1877175"/>
              <a:gd name="connsiteY6" fmla="*/ 17 h 1853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77175" h="1853720">
                <a:moveTo>
                  <a:pt x="608417" y="17"/>
                </a:moveTo>
                <a:cubicBezTo>
                  <a:pt x="631364" y="-249"/>
                  <a:pt x="654730" y="2720"/>
                  <a:pt x="678475" y="9238"/>
                </a:cubicBezTo>
                <a:cubicBezTo>
                  <a:pt x="1058404" y="113547"/>
                  <a:pt x="1564963" y="486022"/>
                  <a:pt x="1773554" y="731848"/>
                </a:cubicBezTo>
                <a:cubicBezTo>
                  <a:pt x="1982132" y="977667"/>
                  <a:pt x="1848049" y="1335248"/>
                  <a:pt x="1617110" y="1551280"/>
                </a:cubicBezTo>
                <a:cubicBezTo>
                  <a:pt x="1288314" y="1858872"/>
                  <a:pt x="991362" y="1864154"/>
                  <a:pt x="626340" y="1849260"/>
                </a:cubicBezTo>
                <a:cubicBezTo>
                  <a:pt x="261303" y="1834354"/>
                  <a:pt x="-14317" y="1543827"/>
                  <a:pt x="577" y="1126657"/>
                </a:cubicBezTo>
                <a:cubicBezTo>
                  <a:pt x="14552" y="735561"/>
                  <a:pt x="264221" y="3998"/>
                  <a:pt x="608417" y="17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031D6151-C330-4D49-8BD3-C7B72B1A82A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631856" y="2124238"/>
            <a:ext cx="1892476" cy="1779884"/>
          </a:xfrm>
          <a:custGeom>
            <a:avLst/>
            <a:gdLst>
              <a:gd name="connsiteX0" fmla="*/ 961170 w 1892476"/>
              <a:gd name="connsiteY0" fmla="*/ 1060 h 1779884"/>
              <a:gd name="connsiteX1" fmla="*/ 1443811 w 1892476"/>
              <a:gd name="connsiteY1" fmla="*/ 242709 h 1779884"/>
              <a:gd name="connsiteX2" fmla="*/ 1754599 w 1892476"/>
              <a:gd name="connsiteY2" fmla="*/ 1512190 h 1779884"/>
              <a:gd name="connsiteX3" fmla="*/ 469299 w 1892476"/>
              <a:gd name="connsiteY3" fmla="*/ 1775565 h 1779884"/>
              <a:gd name="connsiteX4" fmla="*/ 495 w 1892476"/>
              <a:gd name="connsiteY4" fmla="*/ 1085516 h 1779884"/>
              <a:gd name="connsiteX5" fmla="*/ 490372 w 1892476"/>
              <a:gd name="connsiteY5" fmla="*/ 174233 h 1779884"/>
              <a:gd name="connsiteX6" fmla="*/ 961170 w 1892476"/>
              <a:gd name="connsiteY6" fmla="*/ 1060 h 177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92476" h="1779884">
                <a:moveTo>
                  <a:pt x="961170" y="1060"/>
                </a:moveTo>
                <a:cubicBezTo>
                  <a:pt x="1130390" y="10937"/>
                  <a:pt x="1301585" y="89951"/>
                  <a:pt x="1443811" y="242709"/>
                </a:cubicBezTo>
                <a:cubicBezTo>
                  <a:pt x="1728254" y="548232"/>
                  <a:pt x="2096989" y="1317295"/>
                  <a:pt x="1754599" y="1512190"/>
                </a:cubicBezTo>
                <a:cubicBezTo>
                  <a:pt x="1412191" y="1707082"/>
                  <a:pt x="790620" y="1801894"/>
                  <a:pt x="469299" y="1775565"/>
                </a:cubicBezTo>
                <a:cubicBezTo>
                  <a:pt x="147992" y="1749232"/>
                  <a:pt x="-10045" y="1401573"/>
                  <a:pt x="495" y="1085516"/>
                </a:cubicBezTo>
                <a:cubicBezTo>
                  <a:pt x="15489" y="635522"/>
                  <a:pt x="221731" y="421810"/>
                  <a:pt x="490372" y="174233"/>
                </a:cubicBezTo>
                <a:cubicBezTo>
                  <a:pt x="624702" y="50443"/>
                  <a:pt x="791949" y="-8817"/>
                  <a:pt x="961170" y="106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0352850-F106-49CE-BDE9-C2901ACFE75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2663" y="5176800"/>
            <a:ext cx="1877175" cy="7200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34822E0-AFCA-4D4C-A5EE-CF7124365F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886525" y="5176800"/>
            <a:ext cx="1877175" cy="7200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32E1977F-B6F9-49AB-B886-EE17D47F247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40387" y="5176800"/>
            <a:ext cx="1877175" cy="7200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58D542A-3B88-49F7-8A35-69EB6D5A3FA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400700" y="5176800"/>
            <a:ext cx="1877175" cy="7200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A5909F-6414-4CD4-BD13-952E364C277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652612" y="5176800"/>
            <a:ext cx="1877175" cy="7200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24352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ullets &amp; picture + extra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353E03-929D-4C6B-83C0-C5061C1152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2000" y="633600"/>
            <a:ext cx="5760000" cy="270000"/>
          </a:xfrm>
        </p:spPr>
        <p:txBody>
          <a:bodyPr/>
          <a:lstStyle>
            <a:lvl1pPr>
              <a:defRPr sz="1600" spc="200" baseline="0">
                <a:gradFill>
                  <a:gsLst>
                    <a:gs pos="4000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9EFEDFC-D8E6-4F10-8B1F-6611DAA8D79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7200" y="3740400"/>
            <a:ext cx="5400000" cy="2298450"/>
          </a:xfrm>
        </p:spPr>
        <p:txBody>
          <a:bodyPr anchor="t" anchorCtr="0"/>
          <a:lstStyle>
            <a:lvl1pPr>
              <a:spcBef>
                <a:spcPts val="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 b="1">
                <a:solidFill>
                  <a:schemeClr val="tx1"/>
                </a:solidFill>
                <a:latin typeface="+mj-lt"/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aa-ET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26DDCCF-8058-45D1-93FE-BE26A66E0C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86E09-06C7-424B-9E59-AEA84299AADE}" type="datetimeFigureOut">
              <a:rPr lang="aa-ET" smtClean="0"/>
              <a:t>05/24/2022</a:t>
            </a:fld>
            <a:endParaRPr lang="aa-ET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ED99D6D-401E-4498-A866-4ED366B82D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19C79AB-2DA3-408D-A4A1-96C17BD2B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9E5EB99E-53FC-4E51-9FD5-D86C7915CB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7200" y="1962000"/>
            <a:ext cx="5458800" cy="1369650"/>
          </a:xfrm>
        </p:spPr>
        <p:txBody>
          <a:bodyPr/>
          <a:lstStyle>
            <a:lvl1pPr marL="0" indent="0">
              <a:lnSpc>
                <a:spcPct val="84000"/>
              </a:lnSpc>
              <a:spcBef>
                <a:spcPts val="0"/>
              </a:spcBef>
              <a:buNone/>
              <a:defRPr sz="3200">
                <a:solidFill>
                  <a:schemeClr val="tx1"/>
                </a:solidFill>
              </a:defRPr>
            </a:lvl1pPr>
            <a:lvl2pPr marL="288000" indent="-180000">
              <a:spcBef>
                <a:spcPts val="0"/>
              </a:spcBef>
              <a:buFont typeface="Calibri" panose="020F0502020204030204" pitchFamily="34" charset="0"/>
              <a:buChar char="̶"/>
              <a:defRPr sz="2400" b="1">
                <a:gradFill>
                  <a:gsLst>
                    <a:gs pos="4000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  <a:latin typeface="+mj-lt"/>
              </a:defRPr>
            </a:lvl2pPr>
          </a:lstStyle>
          <a:p>
            <a:pPr lvl="0"/>
            <a:r>
              <a:rPr lang="en-US" dirty="0"/>
              <a:t>Click to edit Master text styles</a:t>
            </a:r>
            <a:endParaRPr lang="aa-ET" dirty="0"/>
          </a:p>
          <a:p>
            <a:pPr lvl="1"/>
            <a:r>
              <a:rPr lang="aa-ET" dirty="0" err="1"/>
              <a:t>ddddd</a:t>
            </a:r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3FB9E00-BBE6-46B9-8C28-C73C06B6829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91151" y="0"/>
            <a:ext cx="7100849" cy="6858000"/>
          </a:xfrm>
          <a:custGeom>
            <a:avLst/>
            <a:gdLst>
              <a:gd name="connsiteX0" fmla="*/ 0 w 7100849"/>
              <a:gd name="connsiteY0" fmla="*/ 0 h 6858000"/>
              <a:gd name="connsiteX1" fmla="*/ 7100849 w 7100849"/>
              <a:gd name="connsiteY1" fmla="*/ 0 h 6858000"/>
              <a:gd name="connsiteX2" fmla="*/ 7100849 w 7100849"/>
              <a:gd name="connsiteY2" fmla="*/ 6858000 h 6858000"/>
              <a:gd name="connsiteX3" fmla="*/ 2233272 w 7100849"/>
              <a:gd name="connsiteY3" fmla="*/ 6858000 h 6858000"/>
              <a:gd name="connsiteX4" fmla="*/ 2355614 w 7100849"/>
              <a:gd name="connsiteY4" fmla="*/ 6700384 h 6858000"/>
              <a:gd name="connsiteX5" fmla="*/ 2681194 w 7100849"/>
              <a:gd name="connsiteY5" fmla="*/ 6206944 h 6858000"/>
              <a:gd name="connsiteX6" fmla="*/ 3216543 w 7100849"/>
              <a:gd name="connsiteY6" fmla="*/ 2491903 h 6858000"/>
              <a:gd name="connsiteX7" fmla="*/ 781580 w 7100849"/>
              <a:gd name="connsiteY7" fmla="*/ 481863 h 6858000"/>
              <a:gd name="connsiteX8" fmla="*/ 359960 w 7100849"/>
              <a:gd name="connsiteY8" fmla="*/ 22783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00849" h="6858000">
                <a:moveTo>
                  <a:pt x="0" y="0"/>
                </a:moveTo>
                <a:lnTo>
                  <a:pt x="7100849" y="0"/>
                </a:lnTo>
                <a:lnTo>
                  <a:pt x="7100849" y="6858000"/>
                </a:lnTo>
                <a:lnTo>
                  <a:pt x="2233272" y="6858000"/>
                </a:lnTo>
                <a:lnTo>
                  <a:pt x="2355614" y="6700384"/>
                </a:lnTo>
                <a:cubicBezTo>
                  <a:pt x="2473923" y="6539682"/>
                  <a:pt x="2582665" y="6374800"/>
                  <a:pt x="2681194" y="6206944"/>
                </a:cubicBezTo>
                <a:cubicBezTo>
                  <a:pt x="3486117" y="4872137"/>
                  <a:pt x="3640536" y="3346812"/>
                  <a:pt x="3216543" y="2491903"/>
                </a:cubicBezTo>
                <a:cubicBezTo>
                  <a:pt x="2782939" y="1562793"/>
                  <a:pt x="1876026" y="1188246"/>
                  <a:pt x="781580" y="481863"/>
                </a:cubicBezTo>
                <a:cubicBezTo>
                  <a:pt x="643856" y="401873"/>
                  <a:pt x="503212" y="316747"/>
                  <a:pt x="359960" y="227833"/>
                </a:cubicBezTo>
                <a:close/>
              </a:path>
            </a:pathLst>
          </a:custGeom>
        </p:spPr>
        <p:txBody>
          <a:bodyPr wrap="square" tIns="720000">
            <a:noAutofit/>
          </a:bodyPr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72AB3474-A6D3-4563-B7DE-7D9EA1E7A0C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83600" y="3830400"/>
            <a:ext cx="2384367" cy="2339133"/>
          </a:xfrm>
          <a:custGeom>
            <a:avLst/>
            <a:gdLst>
              <a:gd name="connsiteX0" fmla="*/ 1192235 w 1770993"/>
              <a:gd name="connsiteY0" fmla="*/ 1 h 1737395"/>
              <a:gd name="connsiteX1" fmla="*/ 1711452 w 1770993"/>
              <a:gd name="connsiteY1" fmla="*/ 461230 h 1737395"/>
              <a:gd name="connsiteX2" fmla="*/ 1770993 w 1770993"/>
              <a:gd name="connsiteY2" fmla="*/ 796329 h 1737395"/>
              <a:gd name="connsiteX3" fmla="*/ 1770993 w 1770993"/>
              <a:gd name="connsiteY3" fmla="*/ 798377 h 1737395"/>
              <a:gd name="connsiteX4" fmla="*/ 1582303 w 1770993"/>
              <a:gd name="connsiteY4" fmla="*/ 1408787 h 1737395"/>
              <a:gd name="connsiteX5" fmla="*/ 734674 w 1770993"/>
              <a:gd name="connsiteY5" fmla="*/ 1658132 h 1737395"/>
              <a:gd name="connsiteX6" fmla="*/ 54655 w 1770993"/>
              <a:gd name="connsiteY6" fmla="*/ 659626 h 1737395"/>
              <a:gd name="connsiteX7" fmla="*/ 1082183 w 1770993"/>
              <a:gd name="connsiteY7" fmla="*/ 15555 h 1737395"/>
              <a:gd name="connsiteX8" fmla="*/ 1192235 w 1770993"/>
              <a:gd name="connsiteY8" fmla="*/ 1 h 1737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70993" h="1737395">
                <a:moveTo>
                  <a:pt x="1192235" y="1"/>
                </a:moveTo>
                <a:cubicBezTo>
                  <a:pt x="1431322" y="-18"/>
                  <a:pt x="1630423" y="220314"/>
                  <a:pt x="1711452" y="461230"/>
                </a:cubicBezTo>
                <a:cubicBezTo>
                  <a:pt x="1753076" y="584998"/>
                  <a:pt x="1770879" y="694707"/>
                  <a:pt x="1770993" y="796329"/>
                </a:cubicBezTo>
                <a:lnTo>
                  <a:pt x="1770993" y="798377"/>
                </a:lnTo>
                <a:cubicBezTo>
                  <a:pt x="1770736" y="1019700"/>
                  <a:pt x="1686601" y="1202656"/>
                  <a:pt x="1582303" y="1408787"/>
                </a:cubicBezTo>
                <a:cubicBezTo>
                  <a:pt x="1429845" y="1710091"/>
                  <a:pt x="1079830" y="1830563"/>
                  <a:pt x="734674" y="1658132"/>
                </a:cubicBezTo>
                <a:cubicBezTo>
                  <a:pt x="389497" y="1485691"/>
                  <a:pt x="-178688" y="939214"/>
                  <a:pt x="54655" y="659626"/>
                </a:cubicBezTo>
                <a:cubicBezTo>
                  <a:pt x="287999" y="380058"/>
                  <a:pt x="795462" y="96756"/>
                  <a:pt x="1082183" y="15555"/>
                </a:cubicBezTo>
                <a:cubicBezTo>
                  <a:pt x="1117968" y="5307"/>
                  <a:pt x="1155011" y="73"/>
                  <a:pt x="1192235" y="1"/>
                </a:cubicBezTo>
                <a:close/>
              </a:path>
            </a:pathLst>
          </a:custGeom>
          <a:gradFill>
            <a:gsLst>
              <a:gs pos="40000">
                <a:schemeClr val="accent1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lIns="360000" rIns="360000" anchor="ctr" anchorCtr="0">
            <a:noAutofit/>
          </a:bodyPr>
          <a:lstStyle>
            <a:lvl1pPr marL="0" indent="0" algn="ctr">
              <a:lnSpc>
                <a:spcPct val="84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77949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353E03-929D-4C6B-83C0-C5061C1152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7200" y="633600"/>
            <a:ext cx="5760000" cy="270000"/>
          </a:xfrm>
        </p:spPr>
        <p:txBody>
          <a:bodyPr/>
          <a:lstStyle>
            <a:lvl1pPr>
              <a:defRPr sz="1600" spc="200" baseline="0">
                <a:gradFill>
                  <a:gsLst>
                    <a:gs pos="4000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9EFEDFC-D8E6-4F10-8B1F-6611DAA8D79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7200" y="1581938"/>
            <a:ext cx="6480000" cy="4865662"/>
          </a:xfrm>
        </p:spPr>
        <p:txBody>
          <a:bodyPr anchor="t" anchorCtr="0"/>
          <a:lstStyle>
            <a:lvl1pPr marL="633600" indent="-633600">
              <a:spcBef>
                <a:spcPts val="0"/>
              </a:spcBef>
              <a:spcAft>
                <a:spcPts val="3000"/>
              </a:spcAft>
              <a:buClr>
                <a:schemeClr val="accent1"/>
              </a:buClr>
              <a:buSzPct val="190000"/>
              <a:buFont typeface="Arial" panose="020B0604020202020204" pitchFamily="34" charset="0"/>
              <a:buChar char="•"/>
              <a:defRPr sz="2400" baseline="400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000" b="1">
                <a:solidFill>
                  <a:schemeClr val="tx1"/>
                </a:solidFill>
                <a:latin typeface="+mj-lt"/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aa-ET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26DDCCF-8058-45D1-93FE-BE26A66E0C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86E09-06C7-424B-9E59-AEA84299AADE}" type="datetimeFigureOut">
              <a:rPr lang="aa-ET" smtClean="0"/>
              <a:t>05/24/2022</a:t>
            </a:fld>
            <a:endParaRPr lang="aa-ET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ED99D6D-401E-4498-A866-4ED366B82D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19C79AB-2DA3-408D-A4A1-96C17BD2B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3FB9E00-BBE6-46B9-8C28-C73C06B6829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91151" y="0"/>
            <a:ext cx="7100849" cy="6858000"/>
          </a:xfrm>
          <a:custGeom>
            <a:avLst/>
            <a:gdLst>
              <a:gd name="connsiteX0" fmla="*/ 0 w 7100849"/>
              <a:gd name="connsiteY0" fmla="*/ 0 h 6858000"/>
              <a:gd name="connsiteX1" fmla="*/ 7100849 w 7100849"/>
              <a:gd name="connsiteY1" fmla="*/ 0 h 6858000"/>
              <a:gd name="connsiteX2" fmla="*/ 7100849 w 7100849"/>
              <a:gd name="connsiteY2" fmla="*/ 6858000 h 6858000"/>
              <a:gd name="connsiteX3" fmla="*/ 2233272 w 7100849"/>
              <a:gd name="connsiteY3" fmla="*/ 6858000 h 6858000"/>
              <a:gd name="connsiteX4" fmla="*/ 2355614 w 7100849"/>
              <a:gd name="connsiteY4" fmla="*/ 6700384 h 6858000"/>
              <a:gd name="connsiteX5" fmla="*/ 2681194 w 7100849"/>
              <a:gd name="connsiteY5" fmla="*/ 6206944 h 6858000"/>
              <a:gd name="connsiteX6" fmla="*/ 3216543 w 7100849"/>
              <a:gd name="connsiteY6" fmla="*/ 2491903 h 6858000"/>
              <a:gd name="connsiteX7" fmla="*/ 781580 w 7100849"/>
              <a:gd name="connsiteY7" fmla="*/ 481863 h 6858000"/>
              <a:gd name="connsiteX8" fmla="*/ 359960 w 7100849"/>
              <a:gd name="connsiteY8" fmla="*/ 22783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00849" h="6858000">
                <a:moveTo>
                  <a:pt x="0" y="0"/>
                </a:moveTo>
                <a:lnTo>
                  <a:pt x="7100849" y="0"/>
                </a:lnTo>
                <a:lnTo>
                  <a:pt x="7100849" y="6858000"/>
                </a:lnTo>
                <a:lnTo>
                  <a:pt x="2233272" y="6858000"/>
                </a:lnTo>
                <a:lnTo>
                  <a:pt x="2355614" y="6700384"/>
                </a:lnTo>
                <a:cubicBezTo>
                  <a:pt x="2473923" y="6539682"/>
                  <a:pt x="2582665" y="6374800"/>
                  <a:pt x="2681194" y="6206944"/>
                </a:cubicBezTo>
                <a:cubicBezTo>
                  <a:pt x="3486117" y="4872137"/>
                  <a:pt x="3640536" y="3346812"/>
                  <a:pt x="3216543" y="2491903"/>
                </a:cubicBezTo>
                <a:cubicBezTo>
                  <a:pt x="2782939" y="1562793"/>
                  <a:pt x="1876026" y="1188246"/>
                  <a:pt x="781580" y="481863"/>
                </a:cubicBezTo>
                <a:cubicBezTo>
                  <a:pt x="643856" y="401873"/>
                  <a:pt x="503212" y="316747"/>
                  <a:pt x="359960" y="227833"/>
                </a:cubicBezTo>
                <a:close/>
              </a:path>
            </a:pathLst>
          </a:custGeom>
        </p:spPr>
        <p:txBody>
          <a:bodyPr wrap="square" tIns="720000">
            <a:noAutofit/>
          </a:bodyPr>
          <a:lstStyle>
            <a:lvl1pPr algn="ctr"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49108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ullets &amp; picture + extra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353E03-929D-4C6B-83C0-C5061C1152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7200" y="633600"/>
            <a:ext cx="5760000" cy="270000"/>
          </a:xfrm>
        </p:spPr>
        <p:txBody>
          <a:bodyPr/>
          <a:lstStyle>
            <a:lvl1pPr>
              <a:defRPr sz="1600" spc="200" baseline="0">
                <a:gradFill>
                  <a:gsLst>
                    <a:gs pos="4000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9EFEDFC-D8E6-4F10-8B1F-6611DAA8D79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7200" y="3099600"/>
            <a:ext cx="5400000" cy="2298450"/>
          </a:xfrm>
        </p:spPr>
        <p:txBody>
          <a:bodyPr anchor="t" anchorCtr="0"/>
          <a:lstStyle>
            <a:lvl1pPr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000" b="1">
                <a:solidFill>
                  <a:schemeClr val="tx1"/>
                </a:solidFill>
                <a:latin typeface="+mj-lt"/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aa-ET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26DDCCF-8058-45D1-93FE-BE26A66E0C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86E09-06C7-424B-9E59-AEA84299AADE}" type="datetimeFigureOut">
              <a:rPr lang="aa-ET" smtClean="0"/>
              <a:t>05/24/2022</a:t>
            </a:fld>
            <a:endParaRPr lang="aa-ET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ED99D6D-401E-4498-A866-4ED366B82D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19C79AB-2DA3-408D-A4A1-96C17BD2B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9E5EB99E-53FC-4E51-9FD5-D86C7915CB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7200" y="1576800"/>
            <a:ext cx="5458800" cy="1369650"/>
          </a:xfrm>
        </p:spPr>
        <p:txBody>
          <a:bodyPr/>
          <a:lstStyle>
            <a:lvl1pPr marL="0" indent="0">
              <a:lnSpc>
                <a:spcPct val="84000"/>
              </a:lnSpc>
              <a:spcBef>
                <a:spcPts val="0"/>
              </a:spcBef>
              <a:buNone/>
              <a:defRPr sz="3200">
                <a:solidFill>
                  <a:schemeClr val="tx1"/>
                </a:solidFill>
              </a:defRPr>
            </a:lvl1pPr>
            <a:lvl2pPr marL="288000" indent="-180000">
              <a:spcBef>
                <a:spcPts val="0"/>
              </a:spcBef>
              <a:buFont typeface="Calibri" panose="020F0502020204030204" pitchFamily="34" charset="0"/>
              <a:buChar char="̶"/>
              <a:defRPr sz="2400" b="1">
                <a:gradFill>
                  <a:gsLst>
                    <a:gs pos="4000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  <a:latin typeface="+mj-lt"/>
              </a:defRPr>
            </a:lvl2pPr>
          </a:lstStyle>
          <a:p>
            <a:pPr lvl="0"/>
            <a:r>
              <a:rPr lang="en-US" dirty="0"/>
              <a:t>Click to edit Master text styles</a:t>
            </a:r>
            <a:endParaRPr lang="aa-ET" dirty="0"/>
          </a:p>
          <a:p>
            <a:pPr lvl="1"/>
            <a:r>
              <a:rPr lang="aa-ET" dirty="0" err="1"/>
              <a:t>ddddd</a:t>
            </a:r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E294EC96-97B4-4A7A-8D6E-AAB5EB0892B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8400" y="0"/>
            <a:ext cx="6093600" cy="6858000"/>
          </a:xfrm>
          <a:custGeom>
            <a:avLst/>
            <a:gdLst>
              <a:gd name="connsiteX0" fmla="*/ 370720 w 6093600"/>
              <a:gd name="connsiteY0" fmla="*/ 0 h 6858000"/>
              <a:gd name="connsiteX1" fmla="*/ 6093600 w 6093600"/>
              <a:gd name="connsiteY1" fmla="*/ 0 h 6858000"/>
              <a:gd name="connsiteX2" fmla="*/ 6093600 w 6093600"/>
              <a:gd name="connsiteY2" fmla="*/ 6858000 h 6858000"/>
              <a:gd name="connsiteX3" fmla="*/ 4069028 w 6093600"/>
              <a:gd name="connsiteY3" fmla="*/ 6858000 h 6858000"/>
              <a:gd name="connsiteX4" fmla="*/ 3848078 w 6093600"/>
              <a:gd name="connsiteY4" fmla="*/ 6726050 h 6858000"/>
              <a:gd name="connsiteX5" fmla="*/ 821771 w 6093600"/>
              <a:gd name="connsiteY5" fmla="*/ 3978245 h 6858000"/>
              <a:gd name="connsiteX6" fmla="*/ 342796 w 6093600"/>
              <a:gd name="connsiteY6" fmla="*/ 5444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3600" h="6858000">
                <a:moveTo>
                  <a:pt x="370720" y="0"/>
                </a:moveTo>
                <a:lnTo>
                  <a:pt x="6093600" y="0"/>
                </a:lnTo>
                <a:lnTo>
                  <a:pt x="6093600" y="6858000"/>
                </a:lnTo>
                <a:lnTo>
                  <a:pt x="4069028" y="6858000"/>
                </a:lnTo>
                <a:lnTo>
                  <a:pt x="3848078" y="6726050"/>
                </a:lnTo>
                <a:cubicBezTo>
                  <a:pt x="2631396" y="5973794"/>
                  <a:pt x="1457853" y="4868508"/>
                  <a:pt x="821771" y="3978245"/>
                </a:cubicBezTo>
                <a:cubicBezTo>
                  <a:pt x="-111158" y="2672524"/>
                  <a:pt x="-219033" y="1222100"/>
                  <a:pt x="342796" y="54442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 dirty="0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B99ADDE2-EFE8-41F5-AE7A-65182388653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994000" y="3430799"/>
            <a:ext cx="2037601" cy="2038366"/>
          </a:xfrm>
          <a:custGeom>
            <a:avLst/>
            <a:gdLst>
              <a:gd name="connsiteX0" fmla="*/ 1244537 w 2037601"/>
              <a:gd name="connsiteY0" fmla="*/ 1 h 2038366"/>
              <a:gd name="connsiteX1" fmla="*/ 1850498 w 2037601"/>
              <a:gd name="connsiteY1" fmla="*/ 393708 h 2038366"/>
              <a:gd name="connsiteX2" fmla="*/ 1961853 w 2037601"/>
              <a:gd name="connsiteY2" fmla="*/ 1501762 h 2038366"/>
              <a:gd name="connsiteX3" fmla="*/ 1069853 w 2037601"/>
              <a:gd name="connsiteY3" fmla="*/ 2014513 h 2038366"/>
              <a:gd name="connsiteX4" fmla="*/ 28424 w 2037601"/>
              <a:gd name="connsiteY4" fmla="*/ 1068761 h 2038366"/>
              <a:gd name="connsiteX5" fmla="*/ 1016818 w 2037601"/>
              <a:gd name="connsiteY5" fmla="*/ 60133 h 2038366"/>
              <a:gd name="connsiteX6" fmla="*/ 1244537 w 2037601"/>
              <a:gd name="connsiteY6" fmla="*/ 1 h 2038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37601" h="2038366">
                <a:moveTo>
                  <a:pt x="1244537" y="1"/>
                </a:moveTo>
                <a:cubicBezTo>
                  <a:pt x="1480836" y="-24"/>
                  <a:pt x="1713940" y="175967"/>
                  <a:pt x="1850498" y="393708"/>
                </a:cubicBezTo>
                <a:cubicBezTo>
                  <a:pt x="2107962" y="804301"/>
                  <a:pt x="2052561" y="1119128"/>
                  <a:pt x="1961853" y="1501762"/>
                </a:cubicBezTo>
                <a:cubicBezTo>
                  <a:pt x="1871146" y="1884384"/>
                  <a:pt x="1507561" y="2115928"/>
                  <a:pt x="1069853" y="2014513"/>
                </a:cubicBezTo>
                <a:cubicBezTo>
                  <a:pt x="632133" y="1913097"/>
                  <a:pt x="-159798" y="1448765"/>
                  <a:pt x="28424" y="1068761"/>
                </a:cubicBezTo>
                <a:cubicBezTo>
                  <a:pt x="216645" y="688756"/>
                  <a:pt x="714234" y="230035"/>
                  <a:pt x="1016818" y="60133"/>
                </a:cubicBezTo>
                <a:cubicBezTo>
                  <a:pt x="1086219" y="20668"/>
                  <a:pt x="1164699" y="-56"/>
                  <a:pt x="1244537" y="1"/>
                </a:cubicBezTo>
                <a:close/>
              </a:path>
            </a:pathLst>
          </a:custGeom>
          <a:gradFill>
            <a:gsLst>
              <a:gs pos="40000">
                <a:schemeClr val="accent1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17442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ullets &amp; picture + extratext 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C090B7B3-AFB9-493A-AC34-5F056B75C41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454799" y="1"/>
            <a:ext cx="5737203" cy="6858000"/>
          </a:xfrm>
          <a:custGeom>
            <a:avLst/>
            <a:gdLst>
              <a:gd name="connsiteX0" fmla="*/ 4100741 w 5737203"/>
              <a:gd name="connsiteY0" fmla="*/ 0 h 6858000"/>
              <a:gd name="connsiteX1" fmla="*/ 5737203 w 5737203"/>
              <a:gd name="connsiteY1" fmla="*/ 0 h 6858000"/>
              <a:gd name="connsiteX2" fmla="*/ 5737203 w 5737203"/>
              <a:gd name="connsiteY2" fmla="*/ 6858000 h 6858000"/>
              <a:gd name="connsiteX3" fmla="*/ 1219636 w 5737203"/>
              <a:gd name="connsiteY3" fmla="*/ 6858000 h 6858000"/>
              <a:gd name="connsiteX4" fmla="*/ 1064289 w 5737203"/>
              <a:gd name="connsiteY4" fmla="*/ 6734398 h 6858000"/>
              <a:gd name="connsiteX5" fmla="*/ 695462 w 5737203"/>
              <a:gd name="connsiteY5" fmla="*/ 6388414 h 6858000"/>
              <a:gd name="connsiteX6" fmla="*/ 582739 w 5737203"/>
              <a:gd name="connsiteY6" fmla="*/ 3502159 h 6858000"/>
              <a:gd name="connsiteX7" fmla="*/ 3196879 w 5737203"/>
              <a:gd name="connsiteY7" fmla="*/ 877000 h 6858000"/>
              <a:gd name="connsiteX8" fmla="*/ 4016798 w 5737203"/>
              <a:gd name="connsiteY8" fmla="*/ 7600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737203" h="6858000">
                <a:moveTo>
                  <a:pt x="4100741" y="0"/>
                </a:moveTo>
                <a:lnTo>
                  <a:pt x="5737203" y="0"/>
                </a:lnTo>
                <a:lnTo>
                  <a:pt x="5737203" y="6858000"/>
                </a:lnTo>
                <a:lnTo>
                  <a:pt x="1219636" y="6858000"/>
                </a:lnTo>
                <a:lnTo>
                  <a:pt x="1064289" y="6734398"/>
                </a:lnTo>
                <a:cubicBezTo>
                  <a:pt x="927794" y="6620090"/>
                  <a:pt x="804150" y="6504464"/>
                  <a:pt x="695462" y="6388414"/>
                </a:cubicBezTo>
                <a:cubicBezTo>
                  <a:pt x="-228504" y="5444939"/>
                  <a:pt x="-196601" y="4472891"/>
                  <a:pt x="582739" y="3502159"/>
                </a:cubicBezTo>
                <a:cubicBezTo>
                  <a:pt x="1361694" y="2533098"/>
                  <a:pt x="2435477" y="1661379"/>
                  <a:pt x="3196879" y="877000"/>
                </a:cubicBezTo>
                <a:cubicBezTo>
                  <a:pt x="3502576" y="590316"/>
                  <a:pt x="3763955" y="315903"/>
                  <a:pt x="4016798" y="76008"/>
                </a:cubicBezTo>
                <a:close/>
              </a:path>
            </a:pathLst>
          </a:custGeom>
        </p:spPr>
        <p:txBody>
          <a:bodyPr wrap="square" tIns="1800000">
            <a:noAutofit/>
          </a:bodyPr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8353E03-929D-4C6B-83C0-C5061C1152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2000" y="633600"/>
            <a:ext cx="5760000" cy="270000"/>
          </a:xfrm>
        </p:spPr>
        <p:txBody>
          <a:bodyPr/>
          <a:lstStyle>
            <a:lvl1pPr>
              <a:defRPr spc="200" baseline="0">
                <a:gradFill>
                  <a:gsLst>
                    <a:gs pos="4000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9EFEDFC-D8E6-4F10-8B1F-6611DAA8D79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7200" y="3740400"/>
            <a:ext cx="5400000" cy="2298450"/>
          </a:xfrm>
        </p:spPr>
        <p:txBody>
          <a:bodyPr anchor="t" anchorCtr="0"/>
          <a:lstStyle>
            <a:lvl1pPr>
              <a:spcBef>
                <a:spcPts val="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000" b="1">
                <a:solidFill>
                  <a:schemeClr val="tx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aa-ET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26DDCCF-8058-45D1-93FE-BE26A66E0C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86E09-06C7-424B-9E59-AEA84299AADE}" type="datetimeFigureOut">
              <a:rPr lang="aa-ET" smtClean="0"/>
              <a:t>05/24/2022</a:t>
            </a:fld>
            <a:endParaRPr lang="aa-ET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ED99D6D-401E-4498-A866-4ED366B82D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19C79AB-2DA3-408D-A4A1-96C17BD2B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9E5EB99E-53FC-4E51-9FD5-D86C7915CB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7200" y="1962000"/>
            <a:ext cx="5458800" cy="1369650"/>
          </a:xfrm>
        </p:spPr>
        <p:txBody>
          <a:bodyPr/>
          <a:lstStyle>
            <a:lvl1pPr marL="0" indent="0">
              <a:lnSpc>
                <a:spcPct val="84000"/>
              </a:lnSpc>
              <a:spcBef>
                <a:spcPts val="0"/>
              </a:spcBef>
              <a:buNone/>
              <a:defRPr sz="3200">
                <a:solidFill>
                  <a:schemeClr val="tx1"/>
                </a:solidFill>
              </a:defRPr>
            </a:lvl1pPr>
            <a:lvl2pPr marL="288000" indent="-180000">
              <a:spcBef>
                <a:spcPts val="0"/>
              </a:spcBef>
              <a:buFont typeface="Calibri" panose="020F0502020204030204" pitchFamily="34" charset="0"/>
              <a:buChar char="̶"/>
              <a:defRPr sz="2400" b="1">
                <a:gradFill>
                  <a:gsLst>
                    <a:gs pos="4000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  <a:latin typeface="+mj-lt"/>
              </a:defRPr>
            </a:lvl2pPr>
          </a:lstStyle>
          <a:p>
            <a:pPr lvl="0"/>
            <a:r>
              <a:rPr lang="en-US" dirty="0"/>
              <a:t>Click to edit Master text styles</a:t>
            </a:r>
            <a:endParaRPr lang="aa-ET" dirty="0"/>
          </a:p>
          <a:p>
            <a:pPr lvl="1"/>
            <a:r>
              <a:rPr lang="aa-ET" dirty="0" err="1"/>
              <a:t>ddddd</a:t>
            </a:r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72AB3474-A6D3-4563-B7DE-7D9EA1E7A0C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74656" y="3830400"/>
            <a:ext cx="2384367" cy="2339133"/>
          </a:xfrm>
          <a:custGeom>
            <a:avLst/>
            <a:gdLst>
              <a:gd name="connsiteX0" fmla="*/ 1192235 w 1770993"/>
              <a:gd name="connsiteY0" fmla="*/ 1 h 1737395"/>
              <a:gd name="connsiteX1" fmla="*/ 1711452 w 1770993"/>
              <a:gd name="connsiteY1" fmla="*/ 461230 h 1737395"/>
              <a:gd name="connsiteX2" fmla="*/ 1770993 w 1770993"/>
              <a:gd name="connsiteY2" fmla="*/ 796329 h 1737395"/>
              <a:gd name="connsiteX3" fmla="*/ 1770993 w 1770993"/>
              <a:gd name="connsiteY3" fmla="*/ 798377 h 1737395"/>
              <a:gd name="connsiteX4" fmla="*/ 1582303 w 1770993"/>
              <a:gd name="connsiteY4" fmla="*/ 1408787 h 1737395"/>
              <a:gd name="connsiteX5" fmla="*/ 734674 w 1770993"/>
              <a:gd name="connsiteY5" fmla="*/ 1658132 h 1737395"/>
              <a:gd name="connsiteX6" fmla="*/ 54655 w 1770993"/>
              <a:gd name="connsiteY6" fmla="*/ 659626 h 1737395"/>
              <a:gd name="connsiteX7" fmla="*/ 1082183 w 1770993"/>
              <a:gd name="connsiteY7" fmla="*/ 15555 h 1737395"/>
              <a:gd name="connsiteX8" fmla="*/ 1192235 w 1770993"/>
              <a:gd name="connsiteY8" fmla="*/ 1 h 1737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70993" h="1737395">
                <a:moveTo>
                  <a:pt x="1192235" y="1"/>
                </a:moveTo>
                <a:cubicBezTo>
                  <a:pt x="1431322" y="-18"/>
                  <a:pt x="1630423" y="220314"/>
                  <a:pt x="1711452" y="461230"/>
                </a:cubicBezTo>
                <a:cubicBezTo>
                  <a:pt x="1753076" y="584998"/>
                  <a:pt x="1770879" y="694707"/>
                  <a:pt x="1770993" y="796329"/>
                </a:cubicBezTo>
                <a:lnTo>
                  <a:pt x="1770993" y="798377"/>
                </a:lnTo>
                <a:cubicBezTo>
                  <a:pt x="1770736" y="1019700"/>
                  <a:pt x="1686601" y="1202656"/>
                  <a:pt x="1582303" y="1408787"/>
                </a:cubicBezTo>
                <a:cubicBezTo>
                  <a:pt x="1429845" y="1710091"/>
                  <a:pt x="1079830" y="1830563"/>
                  <a:pt x="734674" y="1658132"/>
                </a:cubicBezTo>
                <a:cubicBezTo>
                  <a:pt x="389497" y="1485691"/>
                  <a:pt x="-178688" y="939214"/>
                  <a:pt x="54655" y="659626"/>
                </a:cubicBezTo>
                <a:cubicBezTo>
                  <a:pt x="287999" y="380058"/>
                  <a:pt x="795462" y="96756"/>
                  <a:pt x="1082183" y="15555"/>
                </a:cubicBezTo>
                <a:cubicBezTo>
                  <a:pt x="1117968" y="5307"/>
                  <a:pt x="1155011" y="73"/>
                  <a:pt x="1192235" y="1"/>
                </a:cubicBezTo>
                <a:close/>
              </a:path>
            </a:pathLst>
          </a:custGeom>
          <a:gradFill>
            <a:gsLst>
              <a:gs pos="40000">
                <a:schemeClr val="accent1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lIns="360000" rIns="360000" anchor="ctr" anchorCtr="0">
            <a:noAutofit/>
          </a:bodyPr>
          <a:lstStyle>
            <a:lvl1pPr marL="0" indent="0" algn="ctr">
              <a:lnSpc>
                <a:spcPct val="84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84864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ullets &amp; extra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353E03-929D-4C6B-83C0-C5061C1152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2000" y="633600"/>
            <a:ext cx="5760000" cy="270000"/>
          </a:xfrm>
        </p:spPr>
        <p:txBody>
          <a:bodyPr/>
          <a:lstStyle>
            <a:lvl1pPr>
              <a:defRPr spc="200" baseline="0">
                <a:gradFill>
                  <a:gsLst>
                    <a:gs pos="4000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9EFEDFC-D8E6-4F10-8B1F-6611DAA8D79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7200" y="3740400"/>
            <a:ext cx="5400000" cy="2298450"/>
          </a:xfrm>
        </p:spPr>
        <p:txBody>
          <a:bodyPr anchor="t" anchorCtr="0"/>
          <a:lstStyle>
            <a:lvl1pPr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aa-ET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26DDCCF-8058-45D1-93FE-BE26A66E0C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86E09-06C7-424B-9E59-AEA84299AADE}" type="datetimeFigureOut">
              <a:rPr lang="aa-ET" smtClean="0"/>
              <a:t>05/24/2022</a:t>
            </a:fld>
            <a:endParaRPr lang="aa-ET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ED99D6D-401E-4498-A866-4ED366B82D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19C79AB-2DA3-408D-A4A1-96C17BD2B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9E5EB99E-53FC-4E51-9FD5-D86C7915CB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7200" y="1962000"/>
            <a:ext cx="5458800" cy="1369650"/>
          </a:xfrm>
        </p:spPr>
        <p:txBody>
          <a:bodyPr/>
          <a:lstStyle>
            <a:lvl1pPr marL="0" indent="0">
              <a:lnSpc>
                <a:spcPct val="84000"/>
              </a:lnSpc>
              <a:spcBef>
                <a:spcPts val="0"/>
              </a:spcBef>
              <a:buNone/>
              <a:defRPr sz="4000">
                <a:solidFill>
                  <a:schemeClr val="tx1"/>
                </a:solidFill>
              </a:defRPr>
            </a:lvl1pPr>
            <a:lvl2pPr marL="288000" indent="-180000">
              <a:spcBef>
                <a:spcPts val="0"/>
              </a:spcBef>
              <a:buFont typeface="Calibri" panose="020F0502020204030204" pitchFamily="34" charset="0"/>
              <a:buChar char="̶"/>
              <a:defRPr sz="3000" b="1">
                <a:gradFill>
                  <a:gsLst>
                    <a:gs pos="4000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  <a:latin typeface="+mj-lt"/>
              </a:defRPr>
            </a:lvl2pPr>
          </a:lstStyle>
          <a:p>
            <a:pPr lvl="0"/>
            <a:r>
              <a:rPr lang="en-US" dirty="0"/>
              <a:t>Click to edit Master text styles</a:t>
            </a:r>
            <a:endParaRPr lang="aa-ET" dirty="0"/>
          </a:p>
          <a:p>
            <a:pPr lvl="1"/>
            <a:r>
              <a:rPr lang="aa-ET" dirty="0" err="1"/>
              <a:t>ddddd</a:t>
            </a:r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72AB3474-A6D3-4563-B7DE-7D9EA1E7A0C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83600" y="3830400"/>
            <a:ext cx="2384367" cy="2339133"/>
          </a:xfrm>
          <a:custGeom>
            <a:avLst/>
            <a:gdLst>
              <a:gd name="connsiteX0" fmla="*/ 1192235 w 1770993"/>
              <a:gd name="connsiteY0" fmla="*/ 1 h 1737395"/>
              <a:gd name="connsiteX1" fmla="*/ 1711452 w 1770993"/>
              <a:gd name="connsiteY1" fmla="*/ 461230 h 1737395"/>
              <a:gd name="connsiteX2" fmla="*/ 1770993 w 1770993"/>
              <a:gd name="connsiteY2" fmla="*/ 796329 h 1737395"/>
              <a:gd name="connsiteX3" fmla="*/ 1770993 w 1770993"/>
              <a:gd name="connsiteY3" fmla="*/ 798377 h 1737395"/>
              <a:gd name="connsiteX4" fmla="*/ 1582303 w 1770993"/>
              <a:gd name="connsiteY4" fmla="*/ 1408787 h 1737395"/>
              <a:gd name="connsiteX5" fmla="*/ 734674 w 1770993"/>
              <a:gd name="connsiteY5" fmla="*/ 1658132 h 1737395"/>
              <a:gd name="connsiteX6" fmla="*/ 54655 w 1770993"/>
              <a:gd name="connsiteY6" fmla="*/ 659626 h 1737395"/>
              <a:gd name="connsiteX7" fmla="*/ 1082183 w 1770993"/>
              <a:gd name="connsiteY7" fmla="*/ 15555 h 1737395"/>
              <a:gd name="connsiteX8" fmla="*/ 1192235 w 1770993"/>
              <a:gd name="connsiteY8" fmla="*/ 1 h 1737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70993" h="1737395">
                <a:moveTo>
                  <a:pt x="1192235" y="1"/>
                </a:moveTo>
                <a:cubicBezTo>
                  <a:pt x="1431322" y="-18"/>
                  <a:pt x="1630423" y="220314"/>
                  <a:pt x="1711452" y="461230"/>
                </a:cubicBezTo>
                <a:cubicBezTo>
                  <a:pt x="1753076" y="584998"/>
                  <a:pt x="1770879" y="694707"/>
                  <a:pt x="1770993" y="796329"/>
                </a:cubicBezTo>
                <a:lnTo>
                  <a:pt x="1770993" y="798377"/>
                </a:lnTo>
                <a:cubicBezTo>
                  <a:pt x="1770736" y="1019700"/>
                  <a:pt x="1686601" y="1202656"/>
                  <a:pt x="1582303" y="1408787"/>
                </a:cubicBezTo>
                <a:cubicBezTo>
                  <a:pt x="1429845" y="1710091"/>
                  <a:pt x="1079830" y="1830563"/>
                  <a:pt x="734674" y="1658132"/>
                </a:cubicBezTo>
                <a:cubicBezTo>
                  <a:pt x="389497" y="1485691"/>
                  <a:pt x="-178688" y="939214"/>
                  <a:pt x="54655" y="659626"/>
                </a:cubicBezTo>
                <a:cubicBezTo>
                  <a:pt x="287999" y="380058"/>
                  <a:pt x="795462" y="96756"/>
                  <a:pt x="1082183" y="15555"/>
                </a:cubicBezTo>
                <a:cubicBezTo>
                  <a:pt x="1117968" y="5307"/>
                  <a:pt x="1155011" y="73"/>
                  <a:pt x="1192235" y="1"/>
                </a:cubicBezTo>
                <a:close/>
              </a:path>
            </a:pathLst>
          </a:custGeom>
          <a:gradFill>
            <a:gsLst>
              <a:gs pos="40000">
                <a:schemeClr val="accent1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lIns="360000" rIns="360000" anchor="ctr" anchorCtr="0">
            <a:noAutofit/>
          </a:bodyPr>
          <a:lstStyle>
            <a:lvl1pPr marL="0" indent="0" algn="ctr">
              <a:lnSpc>
                <a:spcPct val="84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86100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D9DDF36-7E80-40CE-BE46-DF652537928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62251" y="0"/>
            <a:ext cx="6670675" cy="6858000"/>
          </a:xfrm>
          <a:custGeom>
            <a:avLst/>
            <a:gdLst>
              <a:gd name="connsiteX0" fmla="*/ 1666939 w 6670675"/>
              <a:gd name="connsiteY0" fmla="*/ 4597400 h 6858000"/>
              <a:gd name="connsiteX1" fmla="*/ 5003737 w 6670675"/>
              <a:gd name="connsiteY1" fmla="*/ 4597400 h 6858000"/>
              <a:gd name="connsiteX2" fmla="*/ 4860925 w 6670675"/>
              <a:gd name="connsiteY2" fmla="*/ 6858000 h 6858000"/>
              <a:gd name="connsiteX3" fmla="*/ 1809750 w 6670675"/>
              <a:gd name="connsiteY3" fmla="*/ 6858000 h 6858000"/>
              <a:gd name="connsiteX4" fmla="*/ 1666939 w 6670675"/>
              <a:gd name="connsiteY4" fmla="*/ 4597400 h 6858000"/>
              <a:gd name="connsiteX5" fmla="*/ 1161767 w 6670675"/>
              <a:gd name="connsiteY5" fmla="*/ 2311603 h 6858000"/>
              <a:gd name="connsiteX6" fmla="*/ 5508905 w 6670675"/>
              <a:gd name="connsiteY6" fmla="*/ 2311603 h 6858000"/>
              <a:gd name="connsiteX7" fmla="*/ 5010392 w 6670675"/>
              <a:gd name="connsiteY7" fmla="*/ 4546600 h 6858000"/>
              <a:gd name="connsiteX8" fmla="*/ 1660284 w 6670675"/>
              <a:gd name="connsiteY8" fmla="*/ 4546600 h 6858000"/>
              <a:gd name="connsiteX9" fmla="*/ 1161767 w 6670675"/>
              <a:gd name="connsiteY9" fmla="*/ 2311603 h 6858000"/>
              <a:gd name="connsiteX10" fmla="*/ 0 w 6670675"/>
              <a:gd name="connsiteY10" fmla="*/ 0 h 6858000"/>
              <a:gd name="connsiteX11" fmla="*/ 6670675 w 6670675"/>
              <a:gd name="connsiteY11" fmla="*/ 0 h 6858000"/>
              <a:gd name="connsiteX12" fmla="*/ 5525529 w 6670675"/>
              <a:gd name="connsiteY12" fmla="*/ 2260803 h 6858000"/>
              <a:gd name="connsiteX13" fmla="*/ 1145144 w 6670675"/>
              <a:gd name="connsiteY13" fmla="*/ 2260803 h 6858000"/>
              <a:gd name="connsiteX14" fmla="*/ 0 w 6670675"/>
              <a:gd name="connsiteY1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670675" h="6858000">
                <a:moveTo>
                  <a:pt x="1666939" y="4597400"/>
                </a:moveTo>
                <a:lnTo>
                  <a:pt x="5003737" y="4597400"/>
                </a:lnTo>
                <a:cubicBezTo>
                  <a:pt x="4914786" y="5269116"/>
                  <a:pt x="4860925" y="6020981"/>
                  <a:pt x="4860925" y="6858000"/>
                </a:cubicBezTo>
                <a:lnTo>
                  <a:pt x="1809750" y="6858000"/>
                </a:lnTo>
                <a:cubicBezTo>
                  <a:pt x="1809750" y="6020981"/>
                  <a:pt x="1755889" y="5269116"/>
                  <a:pt x="1666939" y="4597400"/>
                </a:cubicBezTo>
                <a:close/>
                <a:moveTo>
                  <a:pt x="1161767" y="2311603"/>
                </a:moveTo>
                <a:lnTo>
                  <a:pt x="5508905" y="2311603"/>
                </a:lnTo>
                <a:cubicBezTo>
                  <a:pt x="5310569" y="2923235"/>
                  <a:pt x="5130178" y="3664864"/>
                  <a:pt x="5010392" y="4546600"/>
                </a:cubicBezTo>
                <a:lnTo>
                  <a:pt x="1660284" y="4546600"/>
                </a:lnTo>
                <a:cubicBezTo>
                  <a:pt x="1540497" y="3664864"/>
                  <a:pt x="1360107" y="2923235"/>
                  <a:pt x="1161767" y="2311603"/>
                </a:cubicBezTo>
                <a:close/>
                <a:moveTo>
                  <a:pt x="0" y="0"/>
                </a:moveTo>
                <a:lnTo>
                  <a:pt x="6670675" y="0"/>
                </a:lnTo>
                <a:cubicBezTo>
                  <a:pt x="6670675" y="0"/>
                  <a:pt x="6041847" y="695148"/>
                  <a:pt x="5525529" y="2260803"/>
                </a:cubicBezTo>
                <a:lnTo>
                  <a:pt x="1145144" y="2260803"/>
                </a:lnTo>
                <a:cubicBezTo>
                  <a:pt x="628827" y="695148"/>
                  <a:pt x="0" y="0"/>
                  <a:pt x="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8353E03-929D-4C6B-83C0-C5061C1152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2000" y="633600"/>
            <a:ext cx="5760000" cy="270000"/>
          </a:xfrm>
        </p:spPr>
        <p:txBody>
          <a:bodyPr/>
          <a:lstStyle>
            <a:lvl1pPr>
              <a:defRPr spc="200" baseline="0">
                <a:gradFill>
                  <a:gsLst>
                    <a:gs pos="4000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9EFEDFC-D8E6-4F10-8B1F-6611DAA8D79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7200" y="1873692"/>
            <a:ext cx="5400000" cy="2298450"/>
          </a:xfrm>
        </p:spPr>
        <p:txBody>
          <a:bodyPr anchor="t" anchorCtr="0"/>
          <a:lstStyle>
            <a:lvl1pPr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aa-ET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26DDCCF-8058-45D1-93FE-BE26A66E0C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86E09-06C7-424B-9E59-AEA84299AADE}" type="datetimeFigureOut">
              <a:rPr lang="aa-ET" smtClean="0"/>
              <a:t>05/24/2022</a:t>
            </a:fld>
            <a:endParaRPr lang="aa-ET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ED99D6D-401E-4498-A866-4ED366B82D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19C79AB-2DA3-408D-A4A1-96C17BD2B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9E5EB99E-53FC-4E51-9FD5-D86C7915CB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7200" y="5389200"/>
            <a:ext cx="5458800" cy="1369650"/>
          </a:xfrm>
        </p:spPr>
        <p:txBody>
          <a:bodyPr/>
          <a:lstStyle>
            <a:lvl1pPr marL="0" indent="0">
              <a:lnSpc>
                <a:spcPct val="84000"/>
              </a:lnSpc>
              <a:spcBef>
                <a:spcPts val="0"/>
              </a:spcBef>
              <a:buNone/>
              <a:defRPr sz="4000">
                <a:solidFill>
                  <a:schemeClr val="tx1"/>
                </a:solidFill>
              </a:defRPr>
            </a:lvl1pPr>
            <a:lvl2pPr marL="288000" indent="-180000">
              <a:spcBef>
                <a:spcPts val="0"/>
              </a:spcBef>
              <a:buFont typeface="Calibri" panose="020F0502020204030204" pitchFamily="34" charset="0"/>
              <a:buChar char="̶"/>
              <a:defRPr sz="3000" b="1">
                <a:gradFill>
                  <a:gsLst>
                    <a:gs pos="4000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  <a:latin typeface="+mj-lt"/>
              </a:defRPr>
            </a:lvl2pPr>
          </a:lstStyle>
          <a:p>
            <a:pPr lvl="0"/>
            <a:r>
              <a:rPr lang="en-US" dirty="0"/>
              <a:t>Click to edit Master text styles</a:t>
            </a:r>
            <a:endParaRPr lang="aa-ET" dirty="0"/>
          </a:p>
          <a:p>
            <a:pPr lvl="1"/>
            <a:r>
              <a:rPr lang="aa-ET" dirty="0" err="1"/>
              <a:t>ddddd</a:t>
            </a:r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72AB3474-A6D3-4563-B7DE-7D9EA1E7A0C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83600" y="3830400"/>
            <a:ext cx="2384367" cy="2339133"/>
          </a:xfrm>
          <a:custGeom>
            <a:avLst/>
            <a:gdLst>
              <a:gd name="connsiteX0" fmla="*/ 1192235 w 1770993"/>
              <a:gd name="connsiteY0" fmla="*/ 1 h 1737395"/>
              <a:gd name="connsiteX1" fmla="*/ 1711452 w 1770993"/>
              <a:gd name="connsiteY1" fmla="*/ 461230 h 1737395"/>
              <a:gd name="connsiteX2" fmla="*/ 1770993 w 1770993"/>
              <a:gd name="connsiteY2" fmla="*/ 796329 h 1737395"/>
              <a:gd name="connsiteX3" fmla="*/ 1770993 w 1770993"/>
              <a:gd name="connsiteY3" fmla="*/ 798377 h 1737395"/>
              <a:gd name="connsiteX4" fmla="*/ 1582303 w 1770993"/>
              <a:gd name="connsiteY4" fmla="*/ 1408787 h 1737395"/>
              <a:gd name="connsiteX5" fmla="*/ 734674 w 1770993"/>
              <a:gd name="connsiteY5" fmla="*/ 1658132 h 1737395"/>
              <a:gd name="connsiteX6" fmla="*/ 54655 w 1770993"/>
              <a:gd name="connsiteY6" fmla="*/ 659626 h 1737395"/>
              <a:gd name="connsiteX7" fmla="*/ 1082183 w 1770993"/>
              <a:gd name="connsiteY7" fmla="*/ 15555 h 1737395"/>
              <a:gd name="connsiteX8" fmla="*/ 1192235 w 1770993"/>
              <a:gd name="connsiteY8" fmla="*/ 1 h 1737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70993" h="1737395">
                <a:moveTo>
                  <a:pt x="1192235" y="1"/>
                </a:moveTo>
                <a:cubicBezTo>
                  <a:pt x="1431322" y="-18"/>
                  <a:pt x="1630423" y="220314"/>
                  <a:pt x="1711452" y="461230"/>
                </a:cubicBezTo>
                <a:cubicBezTo>
                  <a:pt x="1753076" y="584998"/>
                  <a:pt x="1770879" y="694707"/>
                  <a:pt x="1770993" y="796329"/>
                </a:cubicBezTo>
                <a:lnTo>
                  <a:pt x="1770993" y="798377"/>
                </a:lnTo>
                <a:cubicBezTo>
                  <a:pt x="1770736" y="1019700"/>
                  <a:pt x="1686601" y="1202656"/>
                  <a:pt x="1582303" y="1408787"/>
                </a:cubicBezTo>
                <a:cubicBezTo>
                  <a:pt x="1429845" y="1710091"/>
                  <a:pt x="1079830" y="1830563"/>
                  <a:pt x="734674" y="1658132"/>
                </a:cubicBezTo>
                <a:cubicBezTo>
                  <a:pt x="389497" y="1485691"/>
                  <a:pt x="-178688" y="939214"/>
                  <a:pt x="54655" y="659626"/>
                </a:cubicBezTo>
                <a:cubicBezTo>
                  <a:pt x="287999" y="380058"/>
                  <a:pt x="795462" y="96756"/>
                  <a:pt x="1082183" y="15555"/>
                </a:cubicBezTo>
                <a:cubicBezTo>
                  <a:pt x="1117968" y="5307"/>
                  <a:pt x="1155011" y="73"/>
                  <a:pt x="1192235" y="1"/>
                </a:cubicBezTo>
                <a:close/>
              </a:path>
            </a:pathLst>
          </a:custGeom>
          <a:gradFill>
            <a:gsLst>
              <a:gs pos="40000">
                <a:schemeClr val="accent1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lIns="360000" rIns="360000" anchor="ctr" anchorCtr="0">
            <a:noAutofit/>
          </a:bodyPr>
          <a:lstStyle>
            <a:lvl1pPr marL="0" indent="0" algn="ctr">
              <a:lnSpc>
                <a:spcPct val="84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909404C-38EE-4064-A2D0-ECF6539AAC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975600" y="1448342"/>
            <a:ext cx="1040400" cy="1040400"/>
          </a:xfrm>
          <a:custGeom>
            <a:avLst/>
            <a:gdLst>
              <a:gd name="connsiteX0" fmla="*/ 520200 w 1040400"/>
              <a:gd name="connsiteY0" fmla="*/ 0 h 1040400"/>
              <a:gd name="connsiteX1" fmla="*/ 1040400 w 1040400"/>
              <a:gd name="connsiteY1" fmla="*/ 520200 h 1040400"/>
              <a:gd name="connsiteX2" fmla="*/ 520200 w 1040400"/>
              <a:gd name="connsiteY2" fmla="*/ 1040400 h 1040400"/>
              <a:gd name="connsiteX3" fmla="*/ 0 w 1040400"/>
              <a:gd name="connsiteY3" fmla="*/ 520200 h 1040400"/>
              <a:gd name="connsiteX4" fmla="*/ 520200 w 1040400"/>
              <a:gd name="connsiteY4" fmla="*/ 0 h 104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0400" h="1040400">
                <a:moveTo>
                  <a:pt x="520200" y="0"/>
                </a:moveTo>
                <a:cubicBezTo>
                  <a:pt x="807499" y="0"/>
                  <a:pt x="1040400" y="232901"/>
                  <a:pt x="1040400" y="520200"/>
                </a:cubicBezTo>
                <a:cubicBezTo>
                  <a:pt x="1040400" y="807499"/>
                  <a:pt x="807499" y="1040400"/>
                  <a:pt x="520200" y="1040400"/>
                </a:cubicBezTo>
                <a:cubicBezTo>
                  <a:pt x="232901" y="1040400"/>
                  <a:pt x="0" y="807499"/>
                  <a:pt x="0" y="520200"/>
                </a:cubicBezTo>
                <a:cubicBezTo>
                  <a:pt x="0" y="232901"/>
                  <a:pt x="232901" y="0"/>
                  <a:pt x="520200" y="0"/>
                </a:cubicBezTo>
                <a:close/>
              </a:path>
            </a:pathLst>
          </a:custGeom>
          <a:gradFill>
            <a:gsLst>
              <a:gs pos="40000">
                <a:schemeClr val="accent1"/>
              </a:gs>
              <a:gs pos="100000">
                <a:schemeClr val="accent3"/>
              </a:gs>
            </a:gsLst>
            <a:lin ang="0" scaled="0"/>
          </a:gradFill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84000"/>
              </a:lnSpc>
              <a:spcBef>
                <a:spcPts val="0"/>
              </a:spcBef>
              <a:buFontTx/>
              <a:buNone/>
              <a:defRPr sz="1500" b="1">
                <a:latin typeface="+mj-lt"/>
              </a:defRPr>
            </a:lvl1pPr>
            <a:lvl2pPr algn="ctr">
              <a:buFontTx/>
              <a:buNone/>
              <a:defRPr sz="1500" b="1">
                <a:latin typeface="+mj-lt"/>
              </a:defRPr>
            </a:lvl2pPr>
            <a:lvl3pPr algn="ctr">
              <a:buFontTx/>
              <a:buNone/>
              <a:defRPr sz="1500" b="1">
                <a:latin typeface="+mj-lt"/>
              </a:defRPr>
            </a:lvl3pPr>
            <a:lvl4pPr algn="ctr">
              <a:buFontTx/>
              <a:buNone/>
              <a:defRPr sz="1500" b="1">
                <a:latin typeface="+mj-lt"/>
              </a:defRPr>
            </a:lvl4pPr>
            <a:lvl5pPr algn="ctr">
              <a:buFontTx/>
              <a:buNone/>
              <a:defRPr sz="15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555029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object &amp; picture orange background">
    <p:bg>
      <p:bgPr>
        <a:gradFill>
          <a:gsLst>
            <a:gs pos="60000">
              <a:schemeClr val="accent1"/>
            </a:gs>
            <a:gs pos="97000">
              <a:srgbClr val="FA8C00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afbeelding 14">
            <a:extLst>
              <a:ext uri="{FF2B5EF4-FFF2-40B4-BE49-F238E27FC236}">
                <a16:creationId xmlns:a16="http://schemas.microsoft.com/office/drawing/2014/main" id="{7FD42B57-7DCC-4C0D-8277-D966B91FA0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5694051" cy="6858000"/>
          </a:xfrm>
          <a:custGeom>
            <a:avLst/>
            <a:gdLst>
              <a:gd name="connsiteX0" fmla="*/ 0 w 5694051"/>
              <a:gd name="connsiteY0" fmla="*/ 0 h 6858000"/>
              <a:gd name="connsiteX1" fmla="*/ 3795498 w 5694051"/>
              <a:gd name="connsiteY1" fmla="*/ 0 h 6858000"/>
              <a:gd name="connsiteX2" fmla="*/ 4087874 w 5694051"/>
              <a:gd name="connsiteY2" fmla="*/ 175583 h 6858000"/>
              <a:gd name="connsiteX3" fmla="*/ 5673736 w 5694051"/>
              <a:gd name="connsiteY3" fmla="*/ 3138123 h 6858000"/>
              <a:gd name="connsiteX4" fmla="*/ 4781524 w 5694051"/>
              <a:gd name="connsiteY4" fmla="*/ 6471188 h 6858000"/>
              <a:gd name="connsiteX5" fmla="*/ 4630249 w 5694051"/>
              <a:gd name="connsiteY5" fmla="*/ 6858000 h 6858000"/>
              <a:gd name="connsiteX6" fmla="*/ 0 w 569405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94051" h="6858000">
                <a:moveTo>
                  <a:pt x="0" y="0"/>
                </a:moveTo>
                <a:lnTo>
                  <a:pt x="3795498" y="0"/>
                </a:lnTo>
                <a:lnTo>
                  <a:pt x="4087874" y="175583"/>
                </a:lnTo>
                <a:cubicBezTo>
                  <a:pt x="5118906" y="848914"/>
                  <a:pt x="5824638" y="1875224"/>
                  <a:pt x="5673736" y="3138123"/>
                </a:cubicBezTo>
                <a:cubicBezTo>
                  <a:pt x="5568100" y="4022153"/>
                  <a:pt x="5246704" y="5232477"/>
                  <a:pt x="4781524" y="6471188"/>
                </a:cubicBezTo>
                <a:lnTo>
                  <a:pt x="463024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aa-ET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8353E03-929D-4C6B-83C0-C5061C1152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64000" y="633600"/>
            <a:ext cx="4734000" cy="27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26DDCCF-8058-45D1-93FE-BE26A66E0C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86E09-06C7-424B-9E59-AEA84299AADE}" type="datetimeFigureOut">
              <a:rPr lang="aa-ET" smtClean="0"/>
              <a:t>05/24/2022</a:t>
            </a:fld>
            <a:endParaRPr lang="aa-ET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ED99D6D-401E-4498-A866-4ED366B82D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19C79AB-2DA3-408D-A4A1-96C17BD2B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4B81D8-7CA7-417B-A2A3-89974B2587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64000" y="1440000"/>
            <a:ext cx="5290800" cy="43524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  <a:lvl6pPr>
              <a:defRPr>
                <a:solidFill>
                  <a:schemeClr val="bg2"/>
                </a:solidFill>
              </a:defRPr>
            </a:lvl6pPr>
            <a:lvl7pPr>
              <a:defRPr>
                <a:solidFill>
                  <a:schemeClr val="bg2"/>
                </a:solidFill>
              </a:defRPr>
            </a:lvl7pPr>
            <a:lvl8pPr>
              <a:defRPr>
                <a:solidFill>
                  <a:schemeClr val="bg2"/>
                </a:solidFill>
              </a:defRPr>
            </a:lvl8pPr>
            <a:lvl9pP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aa-ET" dirty="0"/>
          </a:p>
          <a:p>
            <a:pPr lvl="5"/>
            <a:r>
              <a:rPr lang="aa-ET" dirty="0"/>
              <a:t>6</a:t>
            </a:r>
          </a:p>
          <a:p>
            <a:pPr lvl="6"/>
            <a:r>
              <a:rPr lang="aa-ET" dirty="0"/>
              <a:t>7</a:t>
            </a:r>
          </a:p>
          <a:p>
            <a:pPr lvl="7"/>
            <a:r>
              <a:rPr lang="aa-ET" dirty="0"/>
              <a:t>8</a:t>
            </a:r>
          </a:p>
          <a:p>
            <a:pPr lvl="8"/>
            <a:r>
              <a:rPr lang="aa-ET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42320462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176A2A-3729-403B-9165-E5CBE72A6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0B0178C7-12A8-4026-A346-449EF41F82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7200" y="1440000"/>
            <a:ext cx="5181600" cy="4351338"/>
          </a:xfrm>
        </p:spPr>
        <p:txBody>
          <a:bodyPr/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aa-ET" dirty="0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1A92E7F1-38B2-4618-ABD2-8FDEDC3610C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73200" y="1440000"/>
            <a:ext cx="5181600" cy="4351338"/>
          </a:xfrm>
        </p:spPr>
        <p:txBody>
          <a:bodyPr/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aa-ET" dirty="0"/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DCB20140-9FF6-4DA4-9EAF-433C1B6061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86E09-06C7-424B-9E59-AEA84299AADE}" type="datetimeFigureOut">
              <a:rPr lang="aa-ET" smtClean="0"/>
              <a:t>05/24/2022</a:t>
            </a:fld>
            <a:endParaRPr lang="aa-ET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155EDF42-A9F8-4364-BCF2-D32399CB98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E524DBD1-56AF-4856-84F6-310170EC3C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20714179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ighlight picture fill screen &amp; orange l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E8B07FF-6706-46B3-8D59-2B0C592EA86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bIns="360000" anchor="b" anchorCtr="0"/>
          <a:lstStyle>
            <a:lvl1pPr marL="0" indent="0" algn="ctr">
              <a:spcBef>
                <a:spcPts val="0"/>
              </a:spcBef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aa-ET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F4FE51-440D-4A73-B21C-06CD193C44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2000" y="633600"/>
            <a:ext cx="5760000" cy="27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3204B20-1624-4B38-A28A-F3764F41FB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3600" y="2430000"/>
            <a:ext cx="5750066" cy="4428000"/>
          </a:xfrm>
          <a:custGeom>
            <a:avLst/>
            <a:gdLst>
              <a:gd name="connsiteX0" fmla="*/ 2372317 w 5750066"/>
              <a:gd name="connsiteY0" fmla="*/ 0 h 4428000"/>
              <a:gd name="connsiteX1" fmla="*/ 2373499 w 5750066"/>
              <a:gd name="connsiteY1" fmla="*/ 0 h 4428000"/>
              <a:gd name="connsiteX2" fmla="*/ 3485844 w 5750066"/>
              <a:gd name="connsiteY2" fmla="*/ 304260 h 4428000"/>
              <a:gd name="connsiteX3" fmla="*/ 5549994 w 5750066"/>
              <a:gd name="connsiteY3" fmla="*/ 3639082 h 4428000"/>
              <a:gd name="connsiteX4" fmla="*/ 4811406 w 5750066"/>
              <a:gd name="connsiteY4" fmla="*/ 4280028 h 4428000"/>
              <a:gd name="connsiteX5" fmla="*/ 4598535 w 5750066"/>
              <a:gd name="connsiteY5" fmla="*/ 4428000 h 4428000"/>
              <a:gd name="connsiteX6" fmla="*/ 290788 w 5750066"/>
              <a:gd name="connsiteY6" fmla="*/ 4428000 h 4428000"/>
              <a:gd name="connsiteX7" fmla="*/ 270147 w 5750066"/>
              <a:gd name="connsiteY7" fmla="*/ 4384813 h 4428000"/>
              <a:gd name="connsiteX8" fmla="*/ 148260 w 5750066"/>
              <a:gd name="connsiteY8" fmla="*/ 4047959 h 4428000"/>
              <a:gd name="connsiteX9" fmla="*/ 0 w 5750066"/>
              <a:gd name="connsiteY9" fmla="*/ 3078298 h 4428000"/>
              <a:gd name="connsiteX10" fmla="*/ 0 w 5750066"/>
              <a:gd name="connsiteY10" fmla="*/ 3071242 h 4428000"/>
              <a:gd name="connsiteX11" fmla="*/ 701315 w 5750066"/>
              <a:gd name="connsiteY11" fmla="*/ 992932 h 4428000"/>
              <a:gd name="connsiteX12" fmla="*/ 2372317 w 5750066"/>
              <a:gd name="connsiteY12" fmla="*/ 0 h 44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750066" h="4428000">
                <a:moveTo>
                  <a:pt x="2372317" y="0"/>
                </a:moveTo>
                <a:lnTo>
                  <a:pt x="2373499" y="0"/>
                </a:lnTo>
                <a:cubicBezTo>
                  <a:pt x="2733222" y="87"/>
                  <a:pt x="3112806" y="97102"/>
                  <a:pt x="3485844" y="304260"/>
                </a:cubicBezTo>
                <a:cubicBezTo>
                  <a:pt x="4580943" y="912418"/>
                  <a:pt x="6346420" y="2765353"/>
                  <a:pt x="5549994" y="3639082"/>
                </a:cubicBezTo>
                <a:cubicBezTo>
                  <a:pt x="5350885" y="3857515"/>
                  <a:pt x="5096178" y="4074275"/>
                  <a:pt x="4811406" y="4280028"/>
                </a:cubicBezTo>
                <a:lnTo>
                  <a:pt x="4598535" y="4428000"/>
                </a:lnTo>
                <a:lnTo>
                  <a:pt x="290788" y="4428000"/>
                </a:lnTo>
                <a:lnTo>
                  <a:pt x="270147" y="4384813"/>
                </a:lnTo>
                <a:cubicBezTo>
                  <a:pt x="221989" y="4274866"/>
                  <a:pt x="181137" y="4161929"/>
                  <a:pt x="148260" y="4047959"/>
                </a:cubicBezTo>
                <a:cubicBezTo>
                  <a:pt x="45521" y="3691808"/>
                  <a:pt x="361" y="3373100"/>
                  <a:pt x="0" y="3078298"/>
                </a:cubicBezTo>
                <a:lnTo>
                  <a:pt x="0" y="3071242"/>
                </a:lnTo>
                <a:cubicBezTo>
                  <a:pt x="946" y="2294901"/>
                  <a:pt x="312734" y="1684329"/>
                  <a:pt x="701315" y="992932"/>
                </a:cubicBezTo>
                <a:cubicBezTo>
                  <a:pt x="1055277" y="363145"/>
                  <a:pt x="1676464" y="224"/>
                  <a:pt x="2372317" y="0"/>
                </a:cubicBezTo>
                <a:close/>
              </a:path>
            </a:pathLst>
          </a:custGeom>
          <a:gradFill>
            <a:gsLst>
              <a:gs pos="60000">
                <a:schemeClr val="accent1"/>
              </a:gs>
              <a:gs pos="97000">
                <a:srgbClr val="FA8C00"/>
              </a:gs>
            </a:gsLst>
            <a:lin ang="5400000" scaled="1"/>
          </a:gradFill>
        </p:spPr>
        <p:txBody>
          <a:bodyPr wrap="square" lIns="1260000" bIns="900000" anchor="b">
            <a:noAutofit/>
          </a:bodyPr>
          <a:lstStyle>
            <a:lvl1pPr marL="0" indent="0">
              <a:lnSpc>
                <a:spcPct val="84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4000"/>
              </a:lnSpc>
              <a:spcBef>
                <a:spcPts val="0"/>
              </a:spcBef>
              <a:buNone/>
              <a:defRPr sz="4000" b="1">
                <a:gradFill>
                  <a:gsLst>
                    <a:gs pos="60000">
                      <a:schemeClr val="accent4"/>
                    </a:gs>
                    <a:gs pos="100000">
                      <a:schemeClr val="tx1"/>
                    </a:gs>
                  </a:gsLst>
                  <a:lin ang="0" scaled="0"/>
                </a:gradFill>
                <a:latin typeface="+mj-lt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893095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49DD05-9393-49BF-9C76-B602191C53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70F28A1F-A43D-4C3D-A579-9705BED831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86E09-06C7-424B-9E59-AEA84299AADE}" type="datetimeFigureOut">
              <a:rPr lang="aa-ET" smtClean="0"/>
              <a:t>05/24/2022</a:t>
            </a:fld>
            <a:endParaRPr lang="aa-ET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4C1D3183-5A4C-4A36-A537-631766E98F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7852B347-20CC-4CD5-B0C5-378AE1AB74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2525C336-A479-4D26-A0C0-0EE1BB6FD1B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6588" y="1440000"/>
            <a:ext cx="10918826" cy="4352400"/>
          </a:xfrm>
        </p:spPr>
        <p:txBody>
          <a:bodyPr anchor="t" anchorCtr="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2994511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7DE633-8C2E-45D3-A1A9-1E424D239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aa-ET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1E27D971-FDEC-48A2-B80B-AE9AE264B2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86E09-06C7-424B-9E59-AEA84299AADE}" type="datetimeFigureOut">
              <a:rPr lang="aa-ET" smtClean="0"/>
              <a:t>05/24/2022</a:t>
            </a:fld>
            <a:endParaRPr lang="aa-ET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43F0BEF0-C68B-4FA8-ADF2-32CDF4C826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096F1CDE-ED20-4D5F-B38F-41A5AC2245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40650446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E9959BF7-FB10-4FF7-8672-E19F38033C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86E09-06C7-424B-9E59-AEA84299AADE}" type="datetimeFigureOut">
              <a:rPr lang="aa-ET" smtClean="0"/>
              <a:t>05/24/2022</a:t>
            </a:fld>
            <a:endParaRPr lang="aa-ET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CD0954B3-A8B5-44F1-A29D-832C5D30FF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4C5CEC0F-0143-4837-94B5-E68D5830F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24537238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bg>
      <p:bgPr>
        <a:gradFill>
          <a:gsLst>
            <a:gs pos="40000">
              <a:schemeClr val="accent4"/>
            </a:gs>
            <a:gs pos="100000">
              <a:srgbClr val="0A236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jdelijke aanduiding voor afbeelding 13">
            <a:extLst>
              <a:ext uri="{FF2B5EF4-FFF2-40B4-BE49-F238E27FC236}">
                <a16:creationId xmlns:a16="http://schemas.microsoft.com/office/drawing/2014/main" id="{A353D28E-2E6D-44B1-B52E-883147D4696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504398" y="0"/>
            <a:ext cx="6687601" cy="6858000"/>
          </a:xfrm>
          <a:custGeom>
            <a:avLst/>
            <a:gdLst>
              <a:gd name="connsiteX0" fmla="*/ 1624230 w 6687601"/>
              <a:gd name="connsiteY0" fmla="*/ 0 h 6858000"/>
              <a:gd name="connsiteX1" fmla="*/ 6687601 w 6687601"/>
              <a:gd name="connsiteY1" fmla="*/ 0 h 6858000"/>
              <a:gd name="connsiteX2" fmla="*/ 6687601 w 6687601"/>
              <a:gd name="connsiteY2" fmla="*/ 6858000 h 6858000"/>
              <a:gd name="connsiteX3" fmla="*/ 3496860 w 6687601"/>
              <a:gd name="connsiteY3" fmla="*/ 6858000 h 6858000"/>
              <a:gd name="connsiteX4" fmla="*/ 3352536 w 6687601"/>
              <a:gd name="connsiteY4" fmla="*/ 6768139 h 6858000"/>
              <a:gd name="connsiteX5" fmla="*/ 524088 w 6687601"/>
              <a:gd name="connsiteY5" fmla="*/ 4417504 h 6858000"/>
              <a:gd name="connsiteX6" fmla="*/ 1315269 w 6687601"/>
              <a:gd name="connsiteY6" fmla="*/ 273191 h 6858000"/>
              <a:gd name="connsiteX7" fmla="*/ 1470711 w 6687601"/>
              <a:gd name="connsiteY7" fmla="*/ 13178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687601" h="6858000">
                <a:moveTo>
                  <a:pt x="1624230" y="0"/>
                </a:moveTo>
                <a:lnTo>
                  <a:pt x="6687601" y="0"/>
                </a:lnTo>
                <a:lnTo>
                  <a:pt x="6687601" y="6858000"/>
                </a:lnTo>
                <a:lnTo>
                  <a:pt x="3496860" y="6858000"/>
                </a:lnTo>
                <a:lnTo>
                  <a:pt x="3352536" y="6768139"/>
                </a:lnTo>
                <a:cubicBezTo>
                  <a:pt x="2187694" y="6018865"/>
                  <a:pt x="1117474" y="5116855"/>
                  <a:pt x="524088" y="4417504"/>
                </a:cubicBezTo>
                <a:cubicBezTo>
                  <a:pt x="-530833" y="3174214"/>
                  <a:pt x="147324" y="1365790"/>
                  <a:pt x="1315269" y="273191"/>
                </a:cubicBezTo>
                <a:cubicBezTo>
                  <a:pt x="1367236" y="224578"/>
                  <a:pt x="1419044" y="177458"/>
                  <a:pt x="1470711" y="131787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aa-ET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3BDFA74-B3DD-46CB-9EF3-359997F3A4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7200" y="2648786"/>
            <a:ext cx="4114800" cy="1560427"/>
          </a:xfrm>
        </p:spPr>
        <p:txBody>
          <a:bodyPr anchor="ctr" anchorCtr="0">
            <a:spAutoFit/>
          </a:bodyPr>
          <a:lstStyle>
            <a:lvl1pPr algn="l">
              <a:lnSpc>
                <a:spcPct val="84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17" name="Tijdelijke aanduiding voor datum 16">
            <a:extLst>
              <a:ext uri="{FF2B5EF4-FFF2-40B4-BE49-F238E27FC236}">
                <a16:creationId xmlns:a16="http://schemas.microsoft.com/office/drawing/2014/main" id="{CE8318D8-37C6-4CAF-9CB9-13FCA70A5B37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637200" y="5860058"/>
            <a:ext cx="2743200" cy="403200"/>
          </a:xfrm>
        </p:spPr>
        <p:txBody>
          <a:bodyPr anchor="b" anchorCtr="0"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fld id="{40A70515-2F87-4F4C-88E8-686FAA7DC1BD}" type="datetime1">
              <a:rPr lang="en-GB" smtClean="0"/>
              <a:t>24/05/2022</a:t>
            </a:fld>
            <a:endParaRPr lang="aa-ET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6BDFC65-3921-49C1-BFBC-2D62E8FF5B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7200" y="688400"/>
            <a:ext cx="1479600" cy="392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026969"/>
      </p:ext>
    </p:extLst>
  </p:cSld>
  <p:clrMapOvr>
    <a:masterClrMapping/>
  </p:clrMapOvr>
  <p:hf sldNum="0" hdr="0" ft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Vrije vorm: vorm 17">
            <a:extLst>
              <a:ext uri="{FF2B5EF4-FFF2-40B4-BE49-F238E27FC236}">
                <a16:creationId xmlns:a16="http://schemas.microsoft.com/office/drawing/2014/main" id="{2ECF9261-B052-4E9D-85D1-CF4FBFA4EDC1}"/>
              </a:ext>
            </a:extLst>
          </p:cNvPr>
          <p:cNvSpPr/>
          <p:nvPr/>
        </p:nvSpPr>
        <p:spPr>
          <a:xfrm>
            <a:off x="0" y="0"/>
            <a:ext cx="10303973" cy="6858000"/>
          </a:xfrm>
          <a:custGeom>
            <a:avLst/>
            <a:gdLst>
              <a:gd name="connsiteX0" fmla="*/ 0 w 10303973"/>
              <a:gd name="connsiteY0" fmla="*/ 0 h 6858000"/>
              <a:gd name="connsiteX1" fmla="*/ 7959438 w 10303973"/>
              <a:gd name="connsiteY1" fmla="*/ 0 h 6858000"/>
              <a:gd name="connsiteX2" fmla="*/ 8206232 w 10303973"/>
              <a:gd name="connsiteY2" fmla="*/ 172074 h 6858000"/>
              <a:gd name="connsiteX3" fmla="*/ 8561591 w 10303973"/>
              <a:gd name="connsiteY3" fmla="*/ 426542 h 6858000"/>
              <a:gd name="connsiteX4" fmla="*/ 9355392 w 10303973"/>
              <a:gd name="connsiteY4" fmla="*/ 6545202 h 6858000"/>
              <a:gd name="connsiteX5" fmla="*/ 9200440 w 10303973"/>
              <a:gd name="connsiteY5" fmla="*/ 6753849 h 6858000"/>
              <a:gd name="connsiteX6" fmla="*/ 9117507 w 10303973"/>
              <a:gd name="connsiteY6" fmla="*/ 6858000 h 6858000"/>
              <a:gd name="connsiteX7" fmla="*/ 0 w 10303973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303973" h="6858000">
                <a:moveTo>
                  <a:pt x="0" y="0"/>
                </a:moveTo>
                <a:lnTo>
                  <a:pt x="7959438" y="0"/>
                </a:lnTo>
                <a:lnTo>
                  <a:pt x="8206232" y="172074"/>
                </a:lnTo>
                <a:cubicBezTo>
                  <a:pt x="8323786" y="255336"/>
                  <a:pt x="8442113" y="340253"/>
                  <a:pt x="8561591" y="426542"/>
                </a:cubicBezTo>
                <a:cubicBezTo>
                  <a:pt x="10473237" y="1807163"/>
                  <a:pt x="10921784" y="4352880"/>
                  <a:pt x="9355392" y="6545202"/>
                </a:cubicBezTo>
                <a:cubicBezTo>
                  <a:pt x="9306442" y="6613713"/>
                  <a:pt x="9254735" y="6683326"/>
                  <a:pt x="9200440" y="6753849"/>
                </a:cubicBezTo>
                <a:lnTo>
                  <a:pt x="9117507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60000">
                <a:schemeClr val="accent1"/>
              </a:gs>
              <a:gs pos="97000">
                <a:srgbClr val="FA8C00"/>
              </a:gs>
            </a:gsLst>
            <a:lin ang="5400000" scaled="1"/>
          </a:gradFill>
          <a:ln w="13023" cap="flat">
            <a:noFill/>
            <a:prstDash val="solid"/>
            <a:miter/>
          </a:ln>
        </p:spPr>
        <p:txBody>
          <a:bodyPr rtlCol="0" anchor="ctr"/>
          <a:lstStyle/>
          <a:p>
            <a:endParaRPr lang="aa-ET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370ECA-9556-4477-9D6A-D8FEC0FA29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4B32BA8B-DBF4-4D87-9BA8-27CAF367B8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7200" y="1799999"/>
            <a:ext cx="9203486" cy="4352400"/>
          </a:xfrm>
        </p:spPr>
        <p:txBody>
          <a:bodyPr/>
          <a:lstStyle>
            <a:lvl1pPr marL="540000" indent="-540000">
              <a:lnSpc>
                <a:spcPct val="90000"/>
              </a:lnSpc>
              <a:spcBef>
                <a:spcPts val="0"/>
              </a:spcBef>
              <a:spcAft>
                <a:spcPts val="2000"/>
              </a:spcAft>
              <a:buFont typeface="+mj-lt"/>
              <a:buAutoNum type="arabicPeriod"/>
              <a:defRPr sz="3500"/>
            </a:lvl1pPr>
            <a:lvl2pPr>
              <a:buFont typeface="Arial" panose="020B0604020202020204" pitchFamily="34" charset="0"/>
              <a:buNone/>
              <a:defRPr/>
            </a:lvl2pPr>
            <a:lvl3pPr>
              <a:buFont typeface="Arial" panose="020B0604020202020204" pitchFamily="34" charset="0"/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  <a:lvl6pPr>
              <a:buFontTx/>
              <a:buNone/>
              <a:defRPr/>
            </a:lvl6pPr>
            <a:lvl7pPr>
              <a:buFontTx/>
              <a:buNone/>
              <a:defRPr/>
            </a:lvl7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0450043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evider 01">
    <p:bg>
      <p:bgPr>
        <a:gradFill>
          <a:gsLst>
            <a:gs pos="40000">
              <a:schemeClr val="accent4"/>
            </a:gs>
            <a:gs pos="100000">
              <a:srgbClr val="0A236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690B66-6977-4940-B8CA-A911D835B0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3050" y="3869978"/>
            <a:ext cx="6381750" cy="692497"/>
          </a:xfrm>
        </p:spPr>
        <p:txBody>
          <a:bodyPr anchor="b">
            <a:spAutoFit/>
          </a:bodyPr>
          <a:lstStyle>
            <a:lvl1pPr>
              <a:defRPr sz="5000"/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8363A343-C169-40D2-B031-E6FB2AF402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73050" y="4860000"/>
            <a:ext cx="6381750" cy="369332"/>
          </a:xfrm>
        </p:spPr>
        <p:txBody>
          <a:bodyPr>
            <a:sp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83FCF9C-0496-4060-9FF5-5017E4B52A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3850" y="633600"/>
            <a:ext cx="4114800" cy="4065224"/>
          </a:xfrm>
          <a:prstGeom prst="rect">
            <a:avLst/>
          </a:prstGeom>
        </p:spPr>
      </p:pic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0C002958-5266-4B63-8E11-2D4592614E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9450" y="633600"/>
            <a:ext cx="3938400" cy="36324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5000">
                <a:solidFill>
                  <a:schemeClr val="bg2"/>
                </a:solidFill>
              </a:defRPr>
            </a:lvl1pPr>
          </a:lstStyle>
          <a:p>
            <a:pPr lvl="0"/>
            <a:r>
              <a:rPr lang="aa-ET" dirty="0"/>
              <a:t>#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5358962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evider 02">
    <p:bg>
      <p:bgPr>
        <a:gradFill>
          <a:gsLst>
            <a:gs pos="40000">
              <a:schemeClr val="accent4"/>
            </a:gs>
            <a:gs pos="100000">
              <a:srgbClr val="0A236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690B66-6977-4940-B8CA-A911D835B0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3050" y="3869978"/>
            <a:ext cx="6381750" cy="692497"/>
          </a:xfrm>
        </p:spPr>
        <p:txBody>
          <a:bodyPr anchor="b">
            <a:spAutoFit/>
          </a:bodyPr>
          <a:lstStyle>
            <a:lvl1pPr>
              <a:defRPr sz="5000"/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8363A343-C169-40D2-B031-E6FB2AF402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73050" y="4860000"/>
            <a:ext cx="6381750" cy="369332"/>
          </a:xfrm>
        </p:spPr>
        <p:txBody>
          <a:bodyPr>
            <a:sp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83FCF9C-0496-4060-9FF5-5017E4B52A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8000000">
            <a:off x="494326" y="633600"/>
            <a:ext cx="4114800" cy="4065224"/>
          </a:xfrm>
          <a:prstGeom prst="rect">
            <a:avLst/>
          </a:prstGeom>
        </p:spPr>
      </p:pic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0C002958-5266-4B63-8E11-2D4592614E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9926" y="633600"/>
            <a:ext cx="3938400" cy="36324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5000">
                <a:solidFill>
                  <a:schemeClr val="bg2"/>
                </a:solidFill>
              </a:defRPr>
            </a:lvl1pPr>
          </a:lstStyle>
          <a:p>
            <a:pPr lvl="0"/>
            <a:r>
              <a:rPr lang="aa-ET" dirty="0"/>
              <a:t>#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0595762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evider 03">
    <p:bg>
      <p:bgPr>
        <a:gradFill>
          <a:gsLst>
            <a:gs pos="40000">
              <a:schemeClr val="accent4"/>
            </a:gs>
            <a:gs pos="100000">
              <a:srgbClr val="0A236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690B66-6977-4940-B8CA-A911D835B0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3050" y="3869978"/>
            <a:ext cx="6381750" cy="692497"/>
          </a:xfrm>
        </p:spPr>
        <p:txBody>
          <a:bodyPr anchor="b">
            <a:spAutoFit/>
          </a:bodyPr>
          <a:lstStyle>
            <a:lvl1pPr>
              <a:defRPr sz="5000"/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8363A343-C169-40D2-B031-E6FB2AF402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73050" y="4860000"/>
            <a:ext cx="6381750" cy="369332"/>
          </a:xfrm>
        </p:spPr>
        <p:txBody>
          <a:bodyPr>
            <a:sp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0D00F22-D351-4004-A96D-F9E18A31ED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800000">
            <a:off x="317583" y="633599"/>
            <a:ext cx="4114800" cy="4065224"/>
          </a:xfrm>
          <a:prstGeom prst="rect">
            <a:avLst/>
          </a:prstGeom>
        </p:spPr>
      </p:pic>
      <p:sp>
        <p:nvSpPr>
          <p:cNvPr id="7" name="Tijdelijke aanduiding voor tekst 12">
            <a:extLst>
              <a:ext uri="{FF2B5EF4-FFF2-40B4-BE49-F238E27FC236}">
                <a16:creationId xmlns:a16="http://schemas.microsoft.com/office/drawing/2014/main" id="{853EB093-A70F-4A86-9EC1-61451F245B3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3183" y="633599"/>
            <a:ext cx="3938400" cy="36324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5000">
                <a:solidFill>
                  <a:schemeClr val="bg2"/>
                </a:solidFill>
              </a:defRPr>
            </a:lvl1pPr>
          </a:lstStyle>
          <a:p>
            <a:pPr lvl="0"/>
            <a:r>
              <a:rPr lang="aa-ET" dirty="0"/>
              <a:t>#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2925108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evider 04">
    <p:bg>
      <p:bgPr>
        <a:gradFill>
          <a:gsLst>
            <a:gs pos="40000">
              <a:schemeClr val="accent4"/>
            </a:gs>
            <a:gs pos="100000">
              <a:srgbClr val="0A236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690B66-6977-4940-B8CA-A911D835B0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3050" y="3869978"/>
            <a:ext cx="6381750" cy="692497"/>
          </a:xfrm>
        </p:spPr>
        <p:txBody>
          <a:bodyPr anchor="b">
            <a:spAutoFit/>
          </a:bodyPr>
          <a:lstStyle>
            <a:lvl1pPr>
              <a:defRPr sz="5000"/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8363A343-C169-40D2-B031-E6FB2AF402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73050" y="4860000"/>
            <a:ext cx="6381750" cy="369332"/>
          </a:xfrm>
        </p:spPr>
        <p:txBody>
          <a:bodyPr>
            <a:sp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83FCF9C-0496-4060-9FF5-5017E4B52A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637200" y="205766"/>
            <a:ext cx="4114800" cy="4065224"/>
          </a:xfrm>
          <a:prstGeom prst="rect">
            <a:avLst/>
          </a:prstGeom>
        </p:spPr>
      </p:pic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0C002958-5266-4B63-8E11-2D4592614E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9806" y="633600"/>
            <a:ext cx="3938400" cy="36324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15000">
                <a:solidFill>
                  <a:schemeClr val="bg2"/>
                </a:solidFill>
              </a:defRPr>
            </a:lvl1pPr>
          </a:lstStyle>
          <a:p>
            <a:pPr lvl="0"/>
            <a:r>
              <a:rPr lang="aa-ET" dirty="0"/>
              <a:t>#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451486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E9959BF7-FB10-4FF7-8672-E19F38033C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86E09-06C7-424B-9E59-AEA84299AADE}" type="datetimeFigureOut">
              <a:rPr lang="aa-ET" smtClean="0"/>
              <a:t>05/24/2022</a:t>
            </a:fld>
            <a:endParaRPr lang="aa-ET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CD0954B3-A8B5-44F1-A29D-832C5D30FF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4C5CEC0F-0143-4837-94B5-E68D5830F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403652845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slide">
    <p:bg>
      <p:bgPr>
        <a:gradFill>
          <a:gsLst>
            <a:gs pos="40000">
              <a:schemeClr val="accent4"/>
            </a:gs>
            <a:gs pos="100000">
              <a:srgbClr val="0A236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BDFA74-B3DD-46CB-9EF3-359997F3A4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7200" y="1093484"/>
            <a:ext cx="4114800" cy="784830"/>
          </a:xfrm>
        </p:spPr>
        <p:txBody>
          <a:bodyPr anchor="t" anchorCtr="0">
            <a:spAutoFit/>
          </a:bodyPr>
          <a:lstStyle>
            <a:lvl1pPr algn="l">
              <a:lnSpc>
                <a:spcPct val="84000"/>
              </a:lnSpc>
              <a:defRPr sz="6000">
                <a:solidFill>
                  <a:schemeClr val="bg1"/>
                </a:solidFill>
              </a:defRPr>
            </a:lvl1pPr>
          </a:lstStyle>
          <a:p>
            <a:endParaRPr lang="aa-ET" dirty="0"/>
          </a:p>
        </p:txBody>
      </p:sp>
      <p:pic>
        <p:nvPicPr>
          <p:cNvPr id="10" name="Afbeelding 9" descr="Afbeelding met tekst, illustratie&#10;&#10;Automatisch gegenereerde beschrijving">
            <a:extLst>
              <a:ext uri="{FF2B5EF4-FFF2-40B4-BE49-F238E27FC236}">
                <a16:creationId xmlns:a16="http://schemas.microsoft.com/office/drawing/2014/main" id="{E5334901-07AE-4C19-8AF2-6D7D770D65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5200" y="5820290"/>
            <a:ext cx="1479600" cy="482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589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objec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2">
            <a:extLst>
              <a:ext uri="{FF2B5EF4-FFF2-40B4-BE49-F238E27FC236}">
                <a16:creationId xmlns:a16="http://schemas.microsoft.com/office/drawing/2014/main" id="{19271375-2FAB-455B-9393-D0380D79D57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32858" y="0"/>
            <a:ext cx="6759142" cy="6858000"/>
          </a:xfrm>
          <a:custGeom>
            <a:avLst/>
            <a:gdLst>
              <a:gd name="connsiteX0" fmla="*/ 1763849 w 6759142"/>
              <a:gd name="connsiteY0" fmla="*/ 0 h 6858000"/>
              <a:gd name="connsiteX1" fmla="*/ 6759142 w 6759142"/>
              <a:gd name="connsiteY1" fmla="*/ 0 h 6858000"/>
              <a:gd name="connsiteX2" fmla="*/ 6759142 w 6759142"/>
              <a:gd name="connsiteY2" fmla="*/ 6858000 h 6858000"/>
              <a:gd name="connsiteX3" fmla="*/ 0 w 6759142"/>
              <a:gd name="connsiteY3" fmla="*/ 6858000 h 6858000"/>
              <a:gd name="connsiteX4" fmla="*/ 410041 w 6759142"/>
              <a:gd name="connsiteY4" fmla="*/ 6508789 h 6858000"/>
              <a:gd name="connsiteX5" fmla="*/ 1864257 w 6759142"/>
              <a:gd name="connsiteY5" fmla="*/ 4933757 h 6858000"/>
              <a:gd name="connsiteX6" fmla="*/ 1958031 w 6759142"/>
              <a:gd name="connsiteY6" fmla="*/ 22905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59142" h="6858000">
                <a:moveTo>
                  <a:pt x="1763849" y="0"/>
                </a:moveTo>
                <a:lnTo>
                  <a:pt x="6759142" y="0"/>
                </a:lnTo>
                <a:lnTo>
                  <a:pt x="6759142" y="6858000"/>
                </a:lnTo>
                <a:lnTo>
                  <a:pt x="0" y="6858000"/>
                </a:lnTo>
                <a:lnTo>
                  <a:pt x="410041" y="6508789"/>
                </a:lnTo>
                <a:cubicBezTo>
                  <a:pt x="1001966" y="5980328"/>
                  <a:pt x="1512638" y="5425580"/>
                  <a:pt x="1864257" y="4933757"/>
                </a:cubicBezTo>
                <a:cubicBezTo>
                  <a:pt x="3007019" y="3335333"/>
                  <a:pt x="2948297" y="1522480"/>
                  <a:pt x="1958031" y="229058"/>
                </a:cubicBezTo>
                <a:close/>
              </a:path>
            </a:pathLst>
          </a:custGeom>
          <a:noFill/>
          <a:effectLst/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aa-ET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8353E03-929D-4C6B-83C0-C5061C1152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200" y="633600"/>
            <a:ext cx="6840000" cy="270000"/>
          </a:xfrm>
        </p:spPr>
        <p:txBody>
          <a:bodyPr/>
          <a:lstStyle>
            <a:lvl1pPr>
              <a:defRPr sz="1600"/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9EFEDFC-D8E6-4F10-8B1F-6611DAA8D79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7200" y="1440000"/>
            <a:ext cx="5400000" cy="4351338"/>
          </a:xfrm>
        </p:spPr>
        <p:txBody>
          <a:bodyPr anchor="ctr" anchorCtr="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aa-ET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26DDCCF-8058-45D1-93FE-BE26A66E0C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86E09-06C7-424B-9E59-AEA84299AADE}" type="datetimeFigureOut">
              <a:rPr lang="aa-ET" smtClean="0"/>
              <a:t>05/24/2022</a:t>
            </a:fld>
            <a:endParaRPr lang="aa-ET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ED99D6D-401E-4498-A866-4ED366B82D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19C79AB-2DA3-408D-A4A1-96C17BD2B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13361489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slide 2">
    <p:bg>
      <p:bgPr>
        <a:gradFill>
          <a:gsLst>
            <a:gs pos="40000">
              <a:schemeClr val="accent4"/>
            </a:gs>
            <a:gs pos="100000">
              <a:srgbClr val="0A236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A221F56-D800-4EF1-B37B-9AA4E86AF51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5719079" cy="6858000"/>
          </a:xfrm>
          <a:custGeom>
            <a:avLst/>
            <a:gdLst>
              <a:gd name="connsiteX0" fmla="*/ 0 w 5719079"/>
              <a:gd name="connsiteY0" fmla="*/ 0 h 6858000"/>
              <a:gd name="connsiteX1" fmla="*/ 3550820 w 5719079"/>
              <a:gd name="connsiteY1" fmla="*/ 0 h 6858000"/>
              <a:gd name="connsiteX2" fmla="*/ 3758104 w 5719079"/>
              <a:gd name="connsiteY2" fmla="*/ 209870 h 6858000"/>
              <a:gd name="connsiteX3" fmla="*/ 4627277 w 5719079"/>
              <a:gd name="connsiteY3" fmla="*/ 1222674 h 6858000"/>
              <a:gd name="connsiteX4" fmla="*/ 5521737 w 5719079"/>
              <a:gd name="connsiteY4" fmla="*/ 4730291 h 6858000"/>
              <a:gd name="connsiteX5" fmla="*/ 3406039 w 5719079"/>
              <a:gd name="connsiteY5" fmla="*/ 6857538 h 6858000"/>
              <a:gd name="connsiteX6" fmla="*/ 3405250 w 5719079"/>
              <a:gd name="connsiteY6" fmla="*/ 6858000 h 6858000"/>
              <a:gd name="connsiteX7" fmla="*/ 0 w 5719079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19079" h="6858000">
                <a:moveTo>
                  <a:pt x="0" y="0"/>
                </a:moveTo>
                <a:lnTo>
                  <a:pt x="3550820" y="0"/>
                </a:lnTo>
                <a:lnTo>
                  <a:pt x="3758104" y="209870"/>
                </a:lnTo>
                <a:cubicBezTo>
                  <a:pt x="4069589" y="534023"/>
                  <a:pt x="4363702" y="875790"/>
                  <a:pt x="4627277" y="1222674"/>
                </a:cubicBezTo>
                <a:cubicBezTo>
                  <a:pt x="5712769" y="2669088"/>
                  <a:pt x="5941776" y="3746288"/>
                  <a:pt x="5521737" y="4730291"/>
                </a:cubicBezTo>
                <a:cubicBezTo>
                  <a:pt x="5184028" y="5518606"/>
                  <a:pt x="4417025" y="6245852"/>
                  <a:pt x="3406039" y="6857538"/>
                </a:cubicBezTo>
                <a:lnTo>
                  <a:pt x="340525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138F42C-BE28-4C75-A42F-72FD9729994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32000" y="2905200"/>
            <a:ext cx="3600000" cy="1080000"/>
          </a:xfrm>
        </p:spPr>
        <p:txBody>
          <a:bodyPr/>
          <a:lstStyle>
            <a:lvl1pPr marL="0" indent="0">
              <a:lnSpc>
                <a:spcPct val="84000"/>
              </a:lnSpc>
              <a:spcBef>
                <a:spcPts val="0"/>
              </a:spcBef>
              <a:buFont typeface="Arial" panose="020B0604020202020204" pitchFamily="34" charset="0"/>
              <a:buNone/>
              <a:defRPr sz="5000">
                <a:solidFill>
                  <a:schemeClr val="bg1"/>
                </a:solidFill>
              </a:defRPr>
            </a:lvl1pPr>
            <a:lvl2pPr marL="0" indent="0">
              <a:lnSpc>
                <a:spcPct val="84000"/>
              </a:lnSpc>
              <a:spcBef>
                <a:spcPts val="0"/>
              </a:spcBef>
              <a:buFont typeface="Arial" panose="020B0604020202020204" pitchFamily="34" charset="0"/>
              <a:buNone/>
              <a:defRPr sz="5000" b="1">
                <a:gradFill>
                  <a:gsLst>
                    <a:gs pos="4000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  <a:latin typeface="+mj-lt"/>
              </a:defRPr>
            </a:lvl2pPr>
            <a:lvl3pPr>
              <a:buFont typeface="Arial" panose="020B0604020202020204" pitchFamily="34" charset="0"/>
              <a:buNone/>
              <a:defRPr/>
            </a:lvl3pPr>
            <a:lvl4pPr>
              <a:buFont typeface="Arial" panose="020B0604020202020204" pitchFamily="34" charset="0"/>
              <a:buNone/>
              <a:defRPr/>
            </a:lvl4pPr>
            <a:lvl5pPr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756CF4D-D0A4-4050-B677-5B96ED6CD4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79962" y="5865565"/>
            <a:ext cx="1479600" cy="392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3611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FCFE167-E276-4410-8C1E-AAB5DA6BFE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696514AF-8033-4534-AF25-45BACA9760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9260025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C19337-B5BD-4B78-AC3D-98682401D6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3A452A33-BA5C-47D8-AB29-ED54EE44E9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989288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ullets &amp; picture + extra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353E03-929D-4C6B-83C0-C5061C1152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2000" y="633600"/>
            <a:ext cx="5760000" cy="270000"/>
          </a:xfrm>
        </p:spPr>
        <p:txBody>
          <a:bodyPr/>
          <a:lstStyle>
            <a:lvl1pPr>
              <a:defRPr spc="200" baseline="0">
                <a:gradFill>
                  <a:gsLst>
                    <a:gs pos="4000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9EFEDFC-D8E6-4F10-8B1F-6611DAA8D79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7200" y="3740400"/>
            <a:ext cx="5400000" cy="2298450"/>
          </a:xfrm>
        </p:spPr>
        <p:txBody>
          <a:bodyPr anchor="t" anchorCtr="0"/>
          <a:lstStyle>
            <a:lvl1pPr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b="1"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aa-ET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26DDCCF-8058-45D1-93FE-BE26A66E0C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86E09-06C7-424B-9E59-AEA84299AADE}" type="datetimeFigureOut">
              <a:rPr lang="aa-ET" smtClean="0"/>
              <a:t>05/24/2022</a:t>
            </a:fld>
            <a:endParaRPr lang="aa-ET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ED99D6D-401E-4498-A866-4ED366B82D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19C79AB-2DA3-408D-A4A1-96C17BD2B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9E5EB99E-53FC-4E51-9FD5-D86C7915CB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7200" y="1962000"/>
            <a:ext cx="5458800" cy="1369650"/>
          </a:xfrm>
        </p:spPr>
        <p:txBody>
          <a:bodyPr/>
          <a:lstStyle>
            <a:lvl1pPr marL="0" indent="0">
              <a:lnSpc>
                <a:spcPct val="84000"/>
              </a:lnSpc>
              <a:spcBef>
                <a:spcPts val="0"/>
              </a:spcBef>
              <a:buNone/>
              <a:defRPr sz="4000">
                <a:solidFill>
                  <a:schemeClr val="tx1"/>
                </a:solidFill>
              </a:defRPr>
            </a:lvl1pPr>
            <a:lvl2pPr marL="288000" indent="-180000">
              <a:spcBef>
                <a:spcPts val="0"/>
              </a:spcBef>
              <a:buFont typeface="Calibri" panose="020F0502020204030204" pitchFamily="34" charset="0"/>
              <a:buChar char="̶"/>
              <a:defRPr sz="3000" b="1">
                <a:gradFill>
                  <a:gsLst>
                    <a:gs pos="4000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  <a:latin typeface="+mj-lt"/>
              </a:defRPr>
            </a:lvl2pPr>
          </a:lstStyle>
          <a:p>
            <a:pPr lvl="0"/>
            <a:r>
              <a:rPr lang="en-US" dirty="0"/>
              <a:t>Click to edit Master text styles</a:t>
            </a:r>
            <a:endParaRPr lang="aa-ET" dirty="0"/>
          </a:p>
          <a:p>
            <a:pPr lvl="1"/>
            <a:r>
              <a:rPr lang="aa-ET" dirty="0" err="1"/>
              <a:t>ddddd</a:t>
            </a:r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3FB9E00-BBE6-46B9-8C28-C73C06B6829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91151" y="0"/>
            <a:ext cx="7100849" cy="6858000"/>
          </a:xfrm>
          <a:custGeom>
            <a:avLst/>
            <a:gdLst>
              <a:gd name="connsiteX0" fmla="*/ 0 w 7100849"/>
              <a:gd name="connsiteY0" fmla="*/ 0 h 6858000"/>
              <a:gd name="connsiteX1" fmla="*/ 7100849 w 7100849"/>
              <a:gd name="connsiteY1" fmla="*/ 0 h 6858000"/>
              <a:gd name="connsiteX2" fmla="*/ 7100849 w 7100849"/>
              <a:gd name="connsiteY2" fmla="*/ 6858000 h 6858000"/>
              <a:gd name="connsiteX3" fmla="*/ 2233272 w 7100849"/>
              <a:gd name="connsiteY3" fmla="*/ 6858000 h 6858000"/>
              <a:gd name="connsiteX4" fmla="*/ 2355614 w 7100849"/>
              <a:gd name="connsiteY4" fmla="*/ 6700384 h 6858000"/>
              <a:gd name="connsiteX5" fmla="*/ 2681194 w 7100849"/>
              <a:gd name="connsiteY5" fmla="*/ 6206944 h 6858000"/>
              <a:gd name="connsiteX6" fmla="*/ 3216543 w 7100849"/>
              <a:gd name="connsiteY6" fmla="*/ 2491903 h 6858000"/>
              <a:gd name="connsiteX7" fmla="*/ 781580 w 7100849"/>
              <a:gd name="connsiteY7" fmla="*/ 481863 h 6858000"/>
              <a:gd name="connsiteX8" fmla="*/ 359960 w 7100849"/>
              <a:gd name="connsiteY8" fmla="*/ 22783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00849" h="6858000">
                <a:moveTo>
                  <a:pt x="0" y="0"/>
                </a:moveTo>
                <a:lnTo>
                  <a:pt x="7100849" y="0"/>
                </a:lnTo>
                <a:lnTo>
                  <a:pt x="7100849" y="6858000"/>
                </a:lnTo>
                <a:lnTo>
                  <a:pt x="2233272" y="6858000"/>
                </a:lnTo>
                <a:lnTo>
                  <a:pt x="2355614" y="6700384"/>
                </a:lnTo>
                <a:cubicBezTo>
                  <a:pt x="2473923" y="6539682"/>
                  <a:pt x="2582665" y="6374800"/>
                  <a:pt x="2681194" y="6206944"/>
                </a:cubicBezTo>
                <a:cubicBezTo>
                  <a:pt x="3486117" y="4872137"/>
                  <a:pt x="3640536" y="3346812"/>
                  <a:pt x="3216543" y="2491903"/>
                </a:cubicBezTo>
                <a:cubicBezTo>
                  <a:pt x="2782939" y="1562793"/>
                  <a:pt x="1876026" y="1188246"/>
                  <a:pt x="781580" y="481863"/>
                </a:cubicBezTo>
                <a:cubicBezTo>
                  <a:pt x="643856" y="401873"/>
                  <a:pt x="503212" y="316747"/>
                  <a:pt x="359960" y="227833"/>
                </a:cubicBezTo>
                <a:close/>
              </a:path>
            </a:pathLst>
          </a:custGeom>
        </p:spPr>
        <p:txBody>
          <a:bodyPr wrap="square" tIns="720000">
            <a:noAutofit/>
          </a:bodyPr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72AB3474-A6D3-4563-B7DE-7D9EA1E7A0C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83600" y="3830400"/>
            <a:ext cx="2384367" cy="2339133"/>
          </a:xfrm>
          <a:custGeom>
            <a:avLst/>
            <a:gdLst>
              <a:gd name="connsiteX0" fmla="*/ 1192235 w 1770993"/>
              <a:gd name="connsiteY0" fmla="*/ 1 h 1737395"/>
              <a:gd name="connsiteX1" fmla="*/ 1711452 w 1770993"/>
              <a:gd name="connsiteY1" fmla="*/ 461230 h 1737395"/>
              <a:gd name="connsiteX2" fmla="*/ 1770993 w 1770993"/>
              <a:gd name="connsiteY2" fmla="*/ 796329 h 1737395"/>
              <a:gd name="connsiteX3" fmla="*/ 1770993 w 1770993"/>
              <a:gd name="connsiteY3" fmla="*/ 798377 h 1737395"/>
              <a:gd name="connsiteX4" fmla="*/ 1582303 w 1770993"/>
              <a:gd name="connsiteY4" fmla="*/ 1408787 h 1737395"/>
              <a:gd name="connsiteX5" fmla="*/ 734674 w 1770993"/>
              <a:gd name="connsiteY5" fmla="*/ 1658132 h 1737395"/>
              <a:gd name="connsiteX6" fmla="*/ 54655 w 1770993"/>
              <a:gd name="connsiteY6" fmla="*/ 659626 h 1737395"/>
              <a:gd name="connsiteX7" fmla="*/ 1082183 w 1770993"/>
              <a:gd name="connsiteY7" fmla="*/ 15555 h 1737395"/>
              <a:gd name="connsiteX8" fmla="*/ 1192235 w 1770993"/>
              <a:gd name="connsiteY8" fmla="*/ 1 h 1737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70993" h="1737395">
                <a:moveTo>
                  <a:pt x="1192235" y="1"/>
                </a:moveTo>
                <a:cubicBezTo>
                  <a:pt x="1431322" y="-18"/>
                  <a:pt x="1630423" y="220314"/>
                  <a:pt x="1711452" y="461230"/>
                </a:cubicBezTo>
                <a:cubicBezTo>
                  <a:pt x="1753076" y="584998"/>
                  <a:pt x="1770879" y="694707"/>
                  <a:pt x="1770993" y="796329"/>
                </a:cubicBezTo>
                <a:lnTo>
                  <a:pt x="1770993" y="798377"/>
                </a:lnTo>
                <a:cubicBezTo>
                  <a:pt x="1770736" y="1019700"/>
                  <a:pt x="1686601" y="1202656"/>
                  <a:pt x="1582303" y="1408787"/>
                </a:cubicBezTo>
                <a:cubicBezTo>
                  <a:pt x="1429845" y="1710091"/>
                  <a:pt x="1079830" y="1830563"/>
                  <a:pt x="734674" y="1658132"/>
                </a:cubicBezTo>
                <a:cubicBezTo>
                  <a:pt x="389497" y="1485691"/>
                  <a:pt x="-178688" y="939214"/>
                  <a:pt x="54655" y="659626"/>
                </a:cubicBezTo>
                <a:cubicBezTo>
                  <a:pt x="287999" y="380058"/>
                  <a:pt x="795462" y="96756"/>
                  <a:pt x="1082183" y="15555"/>
                </a:cubicBezTo>
                <a:cubicBezTo>
                  <a:pt x="1117968" y="5307"/>
                  <a:pt x="1155011" y="73"/>
                  <a:pt x="1192235" y="1"/>
                </a:cubicBezTo>
                <a:close/>
              </a:path>
            </a:pathLst>
          </a:custGeom>
          <a:gradFill>
            <a:gsLst>
              <a:gs pos="40000">
                <a:schemeClr val="accent1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lIns="360000" rIns="360000" anchor="ctr" anchorCtr="0">
            <a:noAutofit/>
          </a:bodyPr>
          <a:lstStyle>
            <a:lvl1pPr marL="0" indent="0" algn="ctr">
              <a:lnSpc>
                <a:spcPct val="84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902777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353E03-929D-4C6B-83C0-C5061C1152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7200" y="633600"/>
            <a:ext cx="5760000" cy="270000"/>
          </a:xfrm>
        </p:spPr>
        <p:txBody>
          <a:bodyPr/>
          <a:lstStyle>
            <a:lvl1pPr>
              <a:defRPr spc="200" baseline="0">
                <a:gradFill>
                  <a:gsLst>
                    <a:gs pos="4000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9EFEDFC-D8E6-4F10-8B1F-6611DAA8D79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7200" y="1581938"/>
            <a:ext cx="6480000" cy="4865662"/>
          </a:xfrm>
        </p:spPr>
        <p:txBody>
          <a:bodyPr anchor="t" anchorCtr="0"/>
          <a:lstStyle>
            <a:lvl1pPr marL="633600" indent="-633600">
              <a:spcBef>
                <a:spcPts val="0"/>
              </a:spcBef>
              <a:spcAft>
                <a:spcPts val="3000"/>
              </a:spcAft>
              <a:buClr>
                <a:schemeClr val="accent1"/>
              </a:buClr>
              <a:buSzPct val="190000"/>
              <a:buFont typeface="Arial" panose="020B0604020202020204" pitchFamily="34" charset="0"/>
              <a:buChar char="•"/>
              <a:defRPr sz="2700" baseline="400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b="1"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aa-ET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26DDCCF-8058-45D1-93FE-BE26A66E0C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86E09-06C7-424B-9E59-AEA84299AADE}" type="datetimeFigureOut">
              <a:rPr lang="aa-ET" smtClean="0"/>
              <a:t>05/24/2022</a:t>
            </a:fld>
            <a:endParaRPr lang="aa-ET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ED99D6D-401E-4498-A866-4ED366B82D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19C79AB-2DA3-408D-A4A1-96C17BD2B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3FB9E00-BBE6-46B9-8C28-C73C06B6829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91151" y="0"/>
            <a:ext cx="7100849" cy="6858000"/>
          </a:xfrm>
          <a:custGeom>
            <a:avLst/>
            <a:gdLst>
              <a:gd name="connsiteX0" fmla="*/ 0 w 7100849"/>
              <a:gd name="connsiteY0" fmla="*/ 0 h 6858000"/>
              <a:gd name="connsiteX1" fmla="*/ 7100849 w 7100849"/>
              <a:gd name="connsiteY1" fmla="*/ 0 h 6858000"/>
              <a:gd name="connsiteX2" fmla="*/ 7100849 w 7100849"/>
              <a:gd name="connsiteY2" fmla="*/ 6858000 h 6858000"/>
              <a:gd name="connsiteX3" fmla="*/ 2233272 w 7100849"/>
              <a:gd name="connsiteY3" fmla="*/ 6858000 h 6858000"/>
              <a:gd name="connsiteX4" fmla="*/ 2355614 w 7100849"/>
              <a:gd name="connsiteY4" fmla="*/ 6700384 h 6858000"/>
              <a:gd name="connsiteX5" fmla="*/ 2681194 w 7100849"/>
              <a:gd name="connsiteY5" fmla="*/ 6206944 h 6858000"/>
              <a:gd name="connsiteX6" fmla="*/ 3216543 w 7100849"/>
              <a:gd name="connsiteY6" fmla="*/ 2491903 h 6858000"/>
              <a:gd name="connsiteX7" fmla="*/ 781580 w 7100849"/>
              <a:gd name="connsiteY7" fmla="*/ 481863 h 6858000"/>
              <a:gd name="connsiteX8" fmla="*/ 359960 w 7100849"/>
              <a:gd name="connsiteY8" fmla="*/ 22783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00849" h="6858000">
                <a:moveTo>
                  <a:pt x="0" y="0"/>
                </a:moveTo>
                <a:lnTo>
                  <a:pt x="7100849" y="0"/>
                </a:lnTo>
                <a:lnTo>
                  <a:pt x="7100849" y="6858000"/>
                </a:lnTo>
                <a:lnTo>
                  <a:pt x="2233272" y="6858000"/>
                </a:lnTo>
                <a:lnTo>
                  <a:pt x="2355614" y="6700384"/>
                </a:lnTo>
                <a:cubicBezTo>
                  <a:pt x="2473923" y="6539682"/>
                  <a:pt x="2582665" y="6374800"/>
                  <a:pt x="2681194" y="6206944"/>
                </a:cubicBezTo>
                <a:cubicBezTo>
                  <a:pt x="3486117" y="4872137"/>
                  <a:pt x="3640536" y="3346812"/>
                  <a:pt x="3216543" y="2491903"/>
                </a:cubicBezTo>
                <a:cubicBezTo>
                  <a:pt x="2782939" y="1562793"/>
                  <a:pt x="1876026" y="1188246"/>
                  <a:pt x="781580" y="481863"/>
                </a:cubicBezTo>
                <a:cubicBezTo>
                  <a:pt x="643856" y="401873"/>
                  <a:pt x="503212" y="316747"/>
                  <a:pt x="359960" y="227833"/>
                </a:cubicBezTo>
                <a:close/>
              </a:path>
            </a:pathLst>
          </a:custGeom>
        </p:spPr>
        <p:txBody>
          <a:bodyPr wrap="square" tIns="720000">
            <a:noAutofit/>
          </a:bodyPr>
          <a:lstStyle>
            <a:lvl1pPr algn="ctr"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83384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7DE633-8C2E-45D3-A1A9-1E424D239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aa-ET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1E27D971-FDEC-48A2-B80B-AE9AE264B2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86E09-06C7-424B-9E59-AEA84299AADE}" type="datetimeFigureOut">
              <a:rPr lang="aa-ET" smtClean="0"/>
              <a:t>05/24/2022</a:t>
            </a:fld>
            <a:endParaRPr lang="aa-ET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43F0BEF0-C68B-4FA8-ADF2-32CDF4C826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096F1CDE-ED20-4D5F-B38F-41A5AC2245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255102817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blue background &amp;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690B66-6977-4940-B8CA-A911D835B0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27600" y="2843840"/>
            <a:ext cx="3960000" cy="1170320"/>
          </a:xfrm>
        </p:spPr>
        <p:txBody>
          <a:bodyPr anchor="ctr" anchorCtr="0">
            <a:spAutoFit/>
          </a:bodyPr>
          <a:lstStyle>
            <a:lvl1pPr>
              <a:lnSpc>
                <a:spcPct val="84000"/>
              </a:lnSpc>
              <a:defRPr sz="4500">
                <a:solidFill>
                  <a:schemeClr val="bg2"/>
                </a:solidFill>
              </a:defRPr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E8B07FF-6706-46B3-8D59-2B0C592EA86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28900" y="2146300"/>
            <a:ext cx="2565400" cy="25654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>
                <a:solidFill>
                  <a:schemeClr val="bg2"/>
                </a:solidFill>
              </a:defRPr>
            </a:lvl1pPr>
          </a:lstStyle>
          <a:p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61951019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orange background &amp;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690B66-6977-4940-B8CA-A911D835B0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27600" y="2843840"/>
            <a:ext cx="3960000" cy="1170320"/>
          </a:xfrm>
        </p:spPr>
        <p:txBody>
          <a:bodyPr anchor="ctr" anchorCtr="0">
            <a:spAutoFit/>
          </a:bodyPr>
          <a:lstStyle>
            <a:lvl1pPr>
              <a:lnSpc>
                <a:spcPct val="84000"/>
              </a:lnSpc>
              <a:defRPr sz="4500">
                <a:solidFill>
                  <a:schemeClr val="bg2"/>
                </a:solidFill>
              </a:defRPr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E8B07FF-6706-46B3-8D59-2B0C592EA86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28900" y="2146300"/>
            <a:ext cx="2565400" cy="2565400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1730056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blue background text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690B66-6977-4940-B8CA-A911D835B0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6000" y="2843840"/>
            <a:ext cx="4860000" cy="1170320"/>
          </a:xfrm>
        </p:spPr>
        <p:txBody>
          <a:bodyPr anchor="ctr" anchorCtr="0">
            <a:spAutoFit/>
          </a:bodyPr>
          <a:lstStyle>
            <a:lvl1pPr>
              <a:lnSpc>
                <a:spcPct val="84000"/>
              </a:lnSpc>
              <a:defRPr sz="4500">
                <a:solidFill>
                  <a:schemeClr val="bg2"/>
                </a:solidFill>
              </a:defRPr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121910161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orange background text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690B66-6977-4940-B8CA-A911D835B0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6000" y="2843840"/>
            <a:ext cx="4860000" cy="1170320"/>
          </a:xfrm>
        </p:spPr>
        <p:txBody>
          <a:bodyPr anchor="ctr" anchorCtr="0">
            <a:spAutoFit/>
          </a:bodyPr>
          <a:lstStyle>
            <a:lvl1pPr>
              <a:lnSpc>
                <a:spcPct val="84000"/>
              </a:lnSpc>
              <a:defRPr sz="4500">
                <a:solidFill>
                  <a:schemeClr val="bg2"/>
                </a:solidFill>
              </a:defRPr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39382595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object &amp; picture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afbeelding 14">
            <a:extLst>
              <a:ext uri="{FF2B5EF4-FFF2-40B4-BE49-F238E27FC236}">
                <a16:creationId xmlns:a16="http://schemas.microsoft.com/office/drawing/2014/main" id="{4A8D4E5A-D518-40E9-9042-EA3B5AEC15F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98000" y="0"/>
            <a:ext cx="5694001" cy="6858000"/>
          </a:xfrm>
          <a:custGeom>
            <a:avLst/>
            <a:gdLst>
              <a:gd name="connsiteX0" fmla="*/ 1898558 w 5694001"/>
              <a:gd name="connsiteY0" fmla="*/ 0 h 6858000"/>
              <a:gd name="connsiteX1" fmla="*/ 5694001 w 5694001"/>
              <a:gd name="connsiteY1" fmla="*/ 0 h 6858000"/>
              <a:gd name="connsiteX2" fmla="*/ 5694001 w 5694001"/>
              <a:gd name="connsiteY2" fmla="*/ 6858000 h 6858000"/>
              <a:gd name="connsiteX3" fmla="*/ 1063805 w 5694001"/>
              <a:gd name="connsiteY3" fmla="*/ 6858000 h 6858000"/>
              <a:gd name="connsiteX4" fmla="*/ 912531 w 5694001"/>
              <a:gd name="connsiteY4" fmla="*/ 6471190 h 6858000"/>
              <a:gd name="connsiteX5" fmla="*/ 20316 w 5694001"/>
              <a:gd name="connsiteY5" fmla="*/ 3138125 h 6858000"/>
              <a:gd name="connsiteX6" fmla="*/ 1606182 w 5694001"/>
              <a:gd name="connsiteY6" fmla="*/ 1755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94001" h="6858000">
                <a:moveTo>
                  <a:pt x="1898558" y="0"/>
                </a:moveTo>
                <a:lnTo>
                  <a:pt x="5694001" y="0"/>
                </a:lnTo>
                <a:lnTo>
                  <a:pt x="5694001" y="6858000"/>
                </a:lnTo>
                <a:lnTo>
                  <a:pt x="1063805" y="6858000"/>
                </a:lnTo>
                <a:lnTo>
                  <a:pt x="912531" y="6471190"/>
                </a:lnTo>
                <a:cubicBezTo>
                  <a:pt x="447350" y="5232479"/>
                  <a:pt x="125953" y="4022155"/>
                  <a:pt x="20316" y="3138125"/>
                </a:cubicBezTo>
                <a:cubicBezTo>
                  <a:pt x="-130585" y="1875226"/>
                  <a:pt x="575149" y="848915"/>
                  <a:pt x="1606182" y="175583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endParaRPr lang="aa-ET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8353E03-929D-4C6B-83C0-C5061C1152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200" y="633600"/>
            <a:ext cx="5458800" cy="270000"/>
          </a:xfrm>
        </p:spPr>
        <p:txBody>
          <a:bodyPr/>
          <a:lstStyle>
            <a:lvl1pPr>
              <a:defRPr sz="1600"/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9EFEDFC-D8E6-4F10-8B1F-6611DAA8D7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7200" y="1440000"/>
            <a:ext cx="5400000" cy="4351338"/>
          </a:xfrm>
        </p:spPr>
        <p:txBody>
          <a:bodyPr anchor="ctr" anchorCtr="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aa-ET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26DDCCF-8058-45D1-93FE-BE26A66E0C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86E09-06C7-424B-9E59-AEA84299AADE}" type="datetimeFigureOut">
              <a:rPr lang="aa-ET" smtClean="0"/>
              <a:t>05/24/2022</a:t>
            </a:fld>
            <a:endParaRPr lang="aa-ET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ED99D6D-401E-4498-A866-4ED366B82D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19C79AB-2DA3-408D-A4A1-96C17BD2B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12897464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picture fill screen &amp; orange l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E8B07FF-6706-46B3-8D59-2B0C592EA86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bIns="360000" anchor="b" anchorCtr="0"/>
          <a:lstStyle>
            <a:lvl1pPr marL="0" indent="0" algn="ctr">
              <a:spcBef>
                <a:spcPts val="0"/>
              </a:spcBef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aa-ET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7EF3AD66-2CD7-4E24-8DF3-6B8B87FDE9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398" y="0"/>
            <a:ext cx="5671713" cy="4630466"/>
          </a:xfrm>
          <a:custGeom>
            <a:avLst/>
            <a:gdLst>
              <a:gd name="connsiteX0" fmla="*/ 1064886 w 5671713"/>
              <a:gd name="connsiteY0" fmla="*/ 0 h 4630466"/>
              <a:gd name="connsiteX1" fmla="*/ 5236315 w 5671713"/>
              <a:gd name="connsiteY1" fmla="*/ 0 h 4630466"/>
              <a:gd name="connsiteX2" fmla="*/ 5263986 w 5671713"/>
              <a:gd name="connsiteY2" fmla="*/ 42130 h 4630466"/>
              <a:gd name="connsiteX3" fmla="*/ 5550006 w 5671713"/>
              <a:gd name="connsiteY3" fmla="*/ 759065 h 4630466"/>
              <a:gd name="connsiteX4" fmla="*/ 4443040 w 5671713"/>
              <a:gd name="connsiteY4" fmla="*/ 4630466 h 4630466"/>
              <a:gd name="connsiteX5" fmla="*/ 4440357 w 5671713"/>
              <a:gd name="connsiteY5" fmla="*/ 4630466 h 4630466"/>
              <a:gd name="connsiteX6" fmla="*/ 599163 w 5671713"/>
              <a:gd name="connsiteY6" fmla="*/ 3369828 h 4630466"/>
              <a:gd name="connsiteX7" fmla="*/ 400076 w 5671713"/>
              <a:gd name="connsiteY7" fmla="*/ 806920 h 4630466"/>
              <a:gd name="connsiteX8" fmla="*/ 975475 w 5671713"/>
              <a:gd name="connsiteY8" fmla="*/ 80204 h 4630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71713" h="4630466">
                <a:moveTo>
                  <a:pt x="1064886" y="0"/>
                </a:moveTo>
                <a:lnTo>
                  <a:pt x="5236315" y="0"/>
                </a:lnTo>
                <a:lnTo>
                  <a:pt x="5263986" y="42130"/>
                </a:lnTo>
                <a:cubicBezTo>
                  <a:pt x="5389464" y="251275"/>
                  <a:pt x="5487149" y="491166"/>
                  <a:pt x="5550006" y="759065"/>
                </a:cubicBezTo>
                <a:cubicBezTo>
                  <a:pt x="5843627" y="2010413"/>
                  <a:pt x="5654648" y="4628741"/>
                  <a:pt x="4443040" y="4630466"/>
                </a:cubicBezTo>
                <a:lnTo>
                  <a:pt x="4440357" y="4630466"/>
                </a:lnTo>
                <a:cubicBezTo>
                  <a:pt x="3226360" y="4628345"/>
                  <a:pt x="1418513" y="3931591"/>
                  <a:pt x="599163" y="3369828"/>
                </a:cubicBezTo>
                <a:cubicBezTo>
                  <a:pt x="-220174" y="2808039"/>
                  <a:pt x="-111366" y="1636339"/>
                  <a:pt x="400076" y="806920"/>
                </a:cubicBezTo>
                <a:cubicBezTo>
                  <a:pt x="582123" y="511688"/>
                  <a:pt x="773567" y="274240"/>
                  <a:pt x="975475" y="80204"/>
                </a:cubicBezTo>
                <a:close/>
              </a:path>
            </a:pathLst>
          </a:custGeom>
          <a:gradFill>
            <a:gsLst>
              <a:gs pos="60000">
                <a:schemeClr val="accent1"/>
              </a:gs>
              <a:gs pos="97000">
                <a:srgbClr val="FA8C00"/>
              </a:gs>
            </a:gsLst>
            <a:lin ang="5400000" scaled="1"/>
          </a:gradFill>
          <a:ln>
            <a:noFill/>
          </a:ln>
        </p:spPr>
        <p:txBody>
          <a:bodyPr wrap="square" lIns="1080000" tIns="720000" rIns="720000" bIns="360000" anchor="t" anchorCtr="0">
            <a:noAutofit/>
          </a:bodyPr>
          <a:lstStyle>
            <a:lvl1pPr algn="l">
              <a:lnSpc>
                <a:spcPct val="84000"/>
              </a:lnSpc>
              <a:defRPr sz="45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156785049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picture fill screen &amp; white l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E8B07FF-6706-46B3-8D59-2B0C592EA86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lIns="0" tIns="360000" anchor="t" anchorCtr="0"/>
          <a:lstStyle>
            <a:lvl1pPr marL="0" indent="0" algn="ctr">
              <a:spcBef>
                <a:spcPts val="0"/>
              </a:spcBef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aa-ET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F0BBEDC-9A2B-43C5-9673-B13FFFBEB8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6800" y="1295998"/>
            <a:ext cx="4547278" cy="4462898"/>
          </a:xfrm>
          <a:custGeom>
            <a:avLst/>
            <a:gdLst>
              <a:gd name="connsiteX0" fmla="*/ 987235 w 4547278"/>
              <a:gd name="connsiteY0" fmla="*/ 2 h 4462898"/>
              <a:gd name="connsiteX1" fmla="*/ 4066904 w 4547278"/>
              <a:gd name="connsiteY1" fmla="*/ 1010724 h 4462898"/>
              <a:gd name="connsiteX2" fmla="*/ 4226516 w 4547278"/>
              <a:gd name="connsiteY2" fmla="*/ 3065519 h 4462898"/>
              <a:gd name="connsiteX3" fmla="*/ 2058627 w 4547278"/>
              <a:gd name="connsiteY3" fmla="*/ 4419582 h 4462898"/>
              <a:gd name="connsiteX4" fmla="*/ 97573 w 4547278"/>
              <a:gd name="connsiteY4" fmla="*/ 3103891 h 4462898"/>
              <a:gd name="connsiteX5" fmla="*/ 987235 w 4547278"/>
              <a:gd name="connsiteY5" fmla="*/ 2 h 4462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47278" h="4462898">
                <a:moveTo>
                  <a:pt x="987235" y="2"/>
                </a:moveTo>
                <a:cubicBezTo>
                  <a:pt x="1960558" y="1705"/>
                  <a:pt x="3409988" y="560322"/>
                  <a:pt x="4066904" y="1010724"/>
                </a:cubicBezTo>
                <a:cubicBezTo>
                  <a:pt x="4723808" y="1461126"/>
                  <a:pt x="4636561" y="2400533"/>
                  <a:pt x="4226516" y="3065519"/>
                </a:cubicBezTo>
                <a:cubicBezTo>
                  <a:pt x="3642694" y="4012316"/>
                  <a:pt x="2938337" y="4217896"/>
                  <a:pt x="2058627" y="4419582"/>
                </a:cubicBezTo>
                <a:cubicBezTo>
                  <a:pt x="1178905" y="4621267"/>
                  <a:pt x="333149" y="4107901"/>
                  <a:pt x="97573" y="3103891"/>
                </a:cubicBezTo>
                <a:cubicBezTo>
                  <a:pt x="-138002" y="2099881"/>
                  <a:pt x="13912" y="-1701"/>
                  <a:pt x="987235" y="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540000" rIns="540000" anchor="ctr" anchorCtr="0">
            <a:noAutofit/>
          </a:bodyPr>
          <a:lstStyle>
            <a:lvl1pPr>
              <a:lnSpc>
                <a:spcPct val="84000"/>
              </a:lnSpc>
              <a:defRPr sz="32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235347946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E9959BF7-FB10-4FF7-8672-E19F38033C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86E09-06C7-424B-9E59-AEA84299AADE}" type="datetimeFigureOut">
              <a:rPr lang="aa-ET" smtClean="0"/>
              <a:t>05/24/2022</a:t>
            </a:fld>
            <a:endParaRPr lang="aa-ET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CD0954B3-A8B5-44F1-A29D-832C5D30FF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4C5CEC0F-0143-4837-94B5-E68D5830F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205340736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2B5448-9768-4920-9C54-5613E3472B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200" y="633600"/>
            <a:ext cx="10917600" cy="1080000"/>
          </a:xfrm>
        </p:spPr>
        <p:txBody>
          <a:bodyPr/>
          <a:lstStyle>
            <a:lvl1pPr>
              <a:defRPr sz="4000">
                <a:gradFill>
                  <a:gsLst>
                    <a:gs pos="40000">
                      <a:schemeClr val="accent4"/>
                    </a:gs>
                    <a:gs pos="100000">
                      <a:srgbClr val="0A2369"/>
                    </a:gs>
                  </a:gsLst>
                  <a:lin ang="5400000" scaled="1"/>
                </a:gra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09F357F-B749-4B7B-894D-2C63127072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86E09-06C7-424B-9E59-AEA84299AADE}" type="datetimeFigureOut">
              <a:rPr lang="aa-ET" smtClean="0"/>
              <a:t>05/24/2022</a:t>
            </a:fld>
            <a:endParaRPr lang="aa-ET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ED301C-5513-4EFC-AAEE-1C286612D9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9D287C-4174-4E85-AFEA-365558369A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95799183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E9959BF7-FB10-4FF7-8672-E19F38033C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86E09-06C7-424B-9E59-AEA84299AADE}" type="datetimeFigureOut">
              <a:rPr lang="aa-ET" smtClean="0"/>
              <a:t>05/24/2022</a:t>
            </a:fld>
            <a:endParaRPr lang="aa-ET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CD0954B3-A8B5-44F1-A29D-832C5D30FF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4C5CEC0F-0143-4837-94B5-E68D5830F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26316795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object &amp; picture (alternative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jdelijke aanduiding voor afbeelding 13">
            <a:extLst>
              <a:ext uri="{FF2B5EF4-FFF2-40B4-BE49-F238E27FC236}">
                <a16:creationId xmlns:a16="http://schemas.microsoft.com/office/drawing/2014/main" id="{9D2F0663-BC86-4374-A176-A97A1AE5EB3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00400" y="0"/>
            <a:ext cx="6291600" cy="6858000"/>
          </a:xfrm>
          <a:custGeom>
            <a:avLst/>
            <a:gdLst>
              <a:gd name="connsiteX0" fmla="*/ 406556 w 6291600"/>
              <a:gd name="connsiteY0" fmla="*/ 0 h 6858000"/>
              <a:gd name="connsiteX1" fmla="*/ 6291600 w 6291600"/>
              <a:gd name="connsiteY1" fmla="*/ 0 h 6858000"/>
              <a:gd name="connsiteX2" fmla="*/ 6291600 w 6291600"/>
              <a:gd name="connsiteY2" fmla="*/ 6858000 h 6858000"/>
              <a:gd name="connsiteX3" fmla="*/ 3832075 w 6291600"/>
              <a:gd name="connsiteY3" fmla="*/ 6858000 h 6858000"/>
              <a:gd name="connsiteX4" fmla="*/ 3685651 w 6291600"/>
              <a:gd name="connsiteY4" fmla="*/ 6764460 h 6858000"/>
              <a:gd name="connsiteX5" fmla="*/ 840048 w 6291600"/>
              <a:gd name="connsiteY5" fmla="*/ 4113979 h 6858000"/>
              <a:gd name="connsiteX6" fmla="*/ 350420 w 6291600"/>
              <a:gd name="connsiteY6" fmla="*/ 10290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91600" h="6858000">
                <a:moveTo>
                  <a:pt x="406556" y="0"/>
                </a:moveTo>
                <a:lnTo>
                  <a:pt x="6291600" y="0"/>
                </a:lnTo>
                <a:lnTo>
                  <a:pt x="6291600" y="6858000"/>
                </a:lnTo>
                <a:lnTo>
                  <a:pt x="3832075" y="6858000"/>
                </a:lnTo>
                <a:lnTo>
                  <a:pt x="3685651" y="6764460"/>
                </a:lnTo>
                <a:cubicBezTo>
                  <a:pt x="2532409" y="6004239"/>
                  <a:pt x="1446928" y="4963371"/>
                  <a:pt x="840048" y="4113979"/>
                </a:cubicBezTo>
                <a:cubicBezTo>
                  <a:pt x="-113629" y="2779219"/>
                  <a:pt x="-223904" y="1296537"/>
                  <a:pt x="350420" y="102909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aa-ET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8353E03-929D-4C6B-83C0-C5061C1152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200" y="633600"/>
            <a:ext cx="5458800" cy="270000"/>
          </a:xfrm>
        </p:spPr>
        <p:txBody>
          <a:bodyPr/>
          <a:lstStyle>
            <a:lvl1pPr>
              <a:defRPr sz="1600"/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9EFEDFC-D8E6-4F10-8B1F-6611DAA8D7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7200" y="1440000"/>
            <a:ext cx="5400000" cy="4351338"/>
          </a:xfrm>
        </p:spPr>
        <p:txBody>
          <a:bodyPr anchor="ctr" anchorCtr="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aa-ET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26DDCCF-8058-45D1-93FE-BE26A66E0C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86E09-06C7-424B-9E59-AEA84299AADE}" type="datetimeFigureOut">
              <a:rPr lang="aa-ET" smtClean="0"/>
              <a:t>05/24/2022</a:t>
            </a:fld>
            <a:endParaRPr lang="aa-ET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ED99D6D-401E-4498-A866-4ED366B82D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19C79AB-2DA3-408D-A4A1-96C17BD2B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35457867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object &amp; picture blue background">
    <p:bg>
      <p:bgPr>
        <a:gradFill>
          <a:gsLst>
            <a:gs pos="40000">
              <a:schemeClr val="accent4"/>
            </a:gs>
            <a:gs pos="100000">
              <a:srgbClr val="0A236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12">
            <a:extLst>
              <a:ext uri="{FF2B5EF4-FFF2-40B4-BE49-F238E27FC236}">
                <a16:creationId xmlns:a16="http://schemas.microsoft.com/office/drawing/2014/main" id="{19271375-2FAB-455B-9393-D0380D79D57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32858" y="0"/>
            <a:ext cx="6759142" cy="6858000"/>
          </a:xfrm>
          <a:custGeom>
            <a:avLst/>
            <a:gdLst>
              <a:gd name="connsiteX0" fmla="*/ 1763849 w 6759142"/>
              <a:gd name="connsiteY0" fmla="*/ 0 h 6858000"/>
              <a:gd name="connsiteX1" fmla="*/ 6759142 w 6759142"/>
              <a:gd name="connsiteY1" fmla="*/ 0 h 6858000"/>
              <a:gd name="connsiteX2" fmla="*/ 6759142 w 6759142"/>
              <a:gd name="connsiteY2" fmla="*/ 6858000 h 6858000"/>
              <a:gd name="connsiteX3" fmla="*/ 0 w 6759142"/>
              <a:gd name="connsiteY3" fmla="*/ 6858000 h 6858000"/>
              <a:gd name="connsiteX4" fmla="*/ 410041 w 6759142"/>
              <a:gd name="connsiteY4" fmla="*/ 6508789 h 6858000"/>
              <a:gd name="connsiteX5" fmla="*/ 1864257 w 6759142"/>
              <a:gd name="connsiteY5" fmla="*/ 4933757 h 6858000"/>
              <a:gd name="connsiteX6" fmla="*/ 1958031 w 6759142"/>
              <a:gd name="connsiteY6" fmla="*/ 22905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59142" h="6858000">
                <a:moveTo>
                  <a:pt x="1763849" y="0"/>
                </a:moveTo>
                <a:lnTo>
                  <a:pt x="6759142" y="0"/>
                </a:lnTo>
                <a:lnTo>
                  <a:pt x="6759142" y="6858000"/>
                </a:lnTo>
                <a:lnTo>
                  <a:pt x="0" y="6858000"/>
                </a:lnTo>
                <a:lnTo>
                  <a:pt x="410041" y="6508789"/>
                </a:lnTo>
                <a:cubicBezTo>
                  <a:pt x="1001966" y="5980328"/>
                  <a:pt x="1512638" y="5425580"/>
                  <a:pt x="1864257" y="4933757"/>
                </a:cubicBezTo>
                <a:cubicBezTo>
                  <a:pt x="3007019" y="3335333"/>
                  <a:pt x="2948297" y="1522480"/>
                  <a:pt x="1958031" y="229058"/>
                </a:cubicBezTo>
                <a:close/>
              </a:path>
            </a:pathLst>
          </a:custGeom>
          <a:solidFill>
            <a:schemeClr val="bg1"/>
          </a:solidFill>
          <a:effectLst/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aa-ET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8353E03-929D-4C6B-83C0-C5061C1152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7200" y="633600"/>
            <a:ext cx="6840000" cy="270000"/>
          </a:xfrm>
        </p:spPr>
        <p:txBody>
          <a:bodyPr/>
          <a:lstStyle>
            <a:lvl1pPr>
              <a:defRPr>
                <a:gradFill>
                  <a:gsLst>
                    <a:gs pos="4000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9EFEDFC-D8E6-4F10-8B1F-6611DAA8D7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7200" y="1440000"/>
            <a:ext cx="5400000" cy="4351338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aa-ET" dirty="0"/>
          </a:p>
          <a:p>
            <a:pPr lvl="5"/>
            <a:r>
              <a:rPr lang="aa-ET" dirty="0"/>
              <a:t>6</a:t>
            </a:r>
          </a:p>
          <a:p>
            <a:pPr lvl="6"/>
            <a:r>
              <a:rPr lang="aa-ET" dirty="0"/>
              <a:t>7</a:t>
            </a:r>
          </a:p>
          <a:p>
            <a:pPr lvl="7"/>
            <a:r>
              <a:rPr lang="aa-ET" dirty="0"/>
              <a:t>8</a:t>
            </a:r>
          </a:p>
          <a:p>
            <a:pPr lvl="8"/>
            <a:r>
              <a:rPr lang="aa-ET" dirty="0"/>
              <a:t>9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26DDCCF-8058-45D1-93FE-BE26A66E0C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86E09-06C7-424B-9E59-AEA84299AADE}" type="datetimeFigureOut">
              <a:rPr lang="aa-ET" smtClean="0"/>
              <a:t>05/24/2022</a:t>
            </a:fld>
            <a:endParaRPr lang="aa-ET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ED99D6D-401E-4498-A866-4ED366B82D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19C79AB-2DA3-408D-A4A1-96C17BD2B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8912888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itle bullets &amp; picture blue background">
    <p:bg>
      <p:bgPr>
        <a:gradFill>
          <a:gsLst>
            <a:gs pos="40000">
              <a:schemeClr val="accent4"/>
            </a:gs>
            <a:gs pos="100000">
              <a:srgbClr val="0A236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353E03-929D-4C6B-83C0-C5061C1152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2000" y="633600"/>
            <a:ext cx="5760000" cy="270000"/>
          </a:xfrm>
        </p:spPr>
        <p:txBody>
          <a:bodyPr/>
          <a:lstStyle>
            <a:lvl1pPr>
              <a:defRPr spc="200" baseline="0">
                <a:solidFill>
                  <a:schemeClr val="bg2"/>
                </a:solidFill>
              </a:defRPr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9EFEDFC-D8E6-4F10-8B1F-6611DAA8D79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7200" y="3740400"/>
            <a:ext cx="5400000" cy="2298450"/>
          </a:xfrm>
        </p:spPr>
        <p:txBody>
          <a:bodyPr anchor="t" anchorCtr="0"/>
          <a:lstStyle>
            <a:lvl1pPr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aa-ET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26DDCCF-8058-45D1-93FE-BE26A66E0C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86E09-06C7-424B-9E59-AEA84299AADE}" type="datetimeFigureOut">
              <a:rPr lang="aa-ET" smtClean="0"/>
              <a:t>05/24/2022</a:t>
            </a:fld>
            <a:endParaRPr lang="aa-ET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ED99D6D-401E-4498-A866-4ED366B82D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19C79AB-2DA3-408D-A4A1-96C17BD2B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9A34FB56-184D-4B5A-87C7-E2FF67072DC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04400" y="1"/>
            <a:ext cx="5811568" cy="6858000"/>
          </a:xfrm>
          <a:custGeom>
            <a:avLst/>
            <a:gdLst>
              <a:gd name="connsiteX0" fmla="*/ 3531865 w 5811568"/>
              <a:gd name="connsiteY0" fmla="*/ 0 h 6858000"/>
              <a:gd name="connsiteX1" fmla="*/ 5811568 w 5811568"/>
              <a:gd name="connsiteY1" fmla="*/ 0 h 6858000"/>
              <a:gd name="connsiteX2" fmla="*/ 5811568 w 5811568"/>
              <a:gd name="connsiteY2" fmla="*/ 6858000 h 6858000"/>
              <a:gd name="connsiteX3" fmla="*/ 1444923 w 5811568"/>
              <a:gd name="connsiteY3" fmla="*/ 6858000 h 6858000"/>
              <a:gd name="connsiteX4" fmla="*/ 1398660 w 5811568"/>
              <a:gd name="connsiteY4" fmla="*/ 6831046 h 6858000"/>
              <a:gd name="connsiteX5" fmla="*/ 228969 w 5811568"/>
              <a:gd name="connsiteY5" fmla="*/ 5711886 h 6858000"/>
              <a:gd name="connsiteX6" fmla="*/ 613606 w 5811568"/>
              <a:gd name="connsiteY6" fmla="*/ 2437623 h 6858000"/>
              <a:gd name="connsiteX7" fmla="*/ 3492266 w 5811568"/>
              <a:gd name="connsiteY7" fmla="*/ 1255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11568" h="6858000">
                <a:moveTo>
                  <a:pt x="3531865" y="0"/>
                </a:moveTo>
                <a:lnTo>
                  <a:pt x="5811568" y="0"/>
                </a:lnTo>
                <a:lnTo>
                  <a:pt x="5811568" y="6858000"/>
                </a:lnTo>
                <a:lnTo>
                  <a:pt x="1444923" y="6858000"/>
                </a:lnTo>
                <a:lnTo>
                  <a:pt x="1398660" y="6831046"/>
                </a:lnTo>
                <a:cubicBezTo>
                  <a:pt x="888928" y="6524701"/>
                  <a:pt x="480271" y="6215517"/>
                  <a:pt x="228969" y="5711886"/>
                </a:cubicBezTo>
                <a:cubicBezTo>
                  <a:pt x="-162977" y="4970985"/>
                  <a:pt x="-62454" y="3628146"/>
                  <a:pt x="613606" y="2437623"/>
                </a:cubicBezTo>
                <a:cubicBezTo>
                  <a:pt x="1192172" y="1390086"/>
                  <a:pt x="2213526" y="458957"/>
                  <a:pt x="3492266" y="12554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wrap="square" tIns="720000">
            <a:noAutofit/>
          </a:bodyPr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9E5EB99E-53FC-4E51-9FD5-D86C7915CB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7200" y="2217599"/>
            <a:ext cx="5458800" cy="1080000"/>
          </a:xfrm>
        </p:spPr>
        <p:txBody>
          <a:bodyPr/>
          <a:lstStyle>
            <a:lvl1pPr marL="0" indent="0">
              <a:lnSpc>
                <a:spcPct val="84000"/>
              </a:lnSpc>
              <a:spcBef>
                <a:spcPts val="0"/>
              </a:spcBef>
              <a:buNone/>
              <a:defRPr sz="4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72AB3474-A6D3-4563-B7DE-7D9EA1E7A0C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07601" y="3607198"/>
            <a:ext cx="2384367" cy="2339133"/>
          </a:xfrm>
          <a:custGeom>
            <a:avLst/>
            <a:gdLst>
              <a:gd name="connsiteX0" fmla="*/ 1192235 w 1770993"/>
              <a:gd name="connsiteY0" fmla="*/ 1 h 1737395"/>
              <a:gd name="connsiteX1" fmla="*/ 1711452 w 1770993"/>
              <a:gd name="connsiteY1" fmla="*/ 461230 h 1737395"/>
              <a:gd name="connsiteX2" fmla="*/ 1770993 w 1770993"/>
              <a:gd name="connsiteY2" fmla="*/ 796329 h 1737395"/>
              <a:gd name="connsiteX3" fmla="*/ 1770993 w 1770993"/>
              <a:gd name="connsiteY3" fmla="*/ 798377 h 1737395"/>
              <a:gd name="connsiteX4" fmla="*/ 1582303 w 1770993"/>
              <a:gd name="connsiteY4" fmla="*/ 1408787 h 1737395"/>
              <a:gd name="connsiteX5" fmla="*/ 734674 w 1770993"/>
              <a:gd name="connsiteY5" fmla="*/ 1658132 h 1737395"/>
              <a:gd name="connsiteX6" fmla="*/ 54655 w 1770993"/>
              <a:gd name="connsiteY6" fmla="*/ 659626 h 1737395"/>
              <a:gd name="connsiteX7" fmla="*/ 1082183 w 1770993"/>
              <a:gd name="connsiteY7" fmla="*/ 15555 h 1737395"/>
              <a:gd name="connsiteX8" fmla="*/ 1192235 w 1770993"/>
              <a:gd name="connsiteY8" fmla="*/ 1 h 1737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70993" h="1737395">
                <a:moveTo>
                  <a:pt x="1192235" y="1"/>
                </a:moveTo>
                <a:cubicBezTo>
                  <a:pt x="1431322" y="-18"/>
                  <a:pt x="1630423" y="220314"/>
                  <a:pt x="1711452" y="461230"/>
                </a:cubicBezTo>
                <a:cubicBezTo>
                  <a:pt x="1753076" y="584998"/>
                  <a:pt x="1770879" y="694707"/>
                  <a:pt x="1770993" y="796329"/>
                </a:cubicBezTo>
                <a:lnTo>
                  <a:pt x="1770993" y="798377"/>
                </a:lnTo>
                <a:cubicBezTo>
                  <a:pt x="1770736" y="1019700"/>
                  <a:pt x="1686601" y="1202656"/>
                  <a:pt x="1582303" y="1408787"/>
                </a:cubicBezTo>
                <a:cubicBezTo>
                  <a:pt x="1429845" y="1710091"/>
                  <a:pt x="1079830" y="1830563"/>
                  <a:pt x="734674" y="1658132"/>
                </a:cubicBezTo>
                <a:cubicBezTo>
                  <a:pt x="389497" y="1485691"/>
                  <a:pt x="-178688" y="939214"/>
                  <a:pt x="54655" y="659626"/>
                </a:cubicBezTo>
                <a:cubicBezTo>
                  <a:pt x="287999" y="380058"/>
                  <a:pt x="795462" y="96756"/>
                  <a:pt x="1082183" y="15555"/>
                </a:cubicBezTo>
                <a:cubicBezTo>
                  <a:pt x="1117968" y="5307"/>
                  <a:pt x="1155011" y="73"/>
                  <a:pt x="1192235" y="1"/>
                </a:cubicBezTo>
                <a:close/>
              </a:path>
            </a:pathLst>
          </a:custGeom>
          <a:gradFill>
            <a:gsLst>
              <a:gs pos="40000">
                <a:schemeClr val="accent1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lIns="360000" rIns="360000" anchor="ctr" anchorCtr="0">
            <a:noAutofit/>
          </a:bodyPr>
          <a:lstStyle>
            <a:lvl1pPr marL="0" indent="0" algn="ctr">
              <a:lnSpc>
                <a:spcPct val="84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93804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itle bullets &amp; picture blue background 2">
    <p:bg>
      <p:bgPr>
        <a:gradFill>
          <a:gsLst>
            <a:gs pos="40000">
              <a:schemeClr val="accent4"/>
            </a:gs>
            <a:gs pos="100000">
              <a:srgbClr val="0A236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353E03-929D-4C6B-83C0-C5061C1152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2000" y="633600"/>
            <a:ext cx="5760000" cy="270000"/>
          </a:xfrm>
        </p:spPr>
        <p:txBody>
          <a:bodyPr/>
          <a:lstStyle>
            <a:lvl1pPr>
              <a:defRPr spc="200" baseline="0">
                <a:gradFill>
                  <a:gsLst>
                    <a:gs pos="4000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9EFEDFC-D8E6-4F10-8B1F-6611DAA8D79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7200" y="3740400"/>
            <a:ext cx="3240000" cy="2298450"/>
          </a:xfrm>
        </p:spPr>
        <p:txBody>
          <a:bodyPr anchor="t" anchorCtr="0"/>
          <a:lstStyle>
            <a:lvl1pPr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2000" b="1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aa-ET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26DDCCF-8058-45D1-93FE-BE26A66E0C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86E09-06C7-424B-9E59-AEA84299AADE}" type="datetimeFigureOut">
              <a:rPr lang="aa-ET" smtClean="0"/>
              <a:t>05/24/2022</a:t>
            </a:fld>
            <a:endParaRPr lang="aa-ET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ED99D6D-401E-4498-A866-4ED366B82D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19C79AB-2DA3-408D-A4A1-96C17BD2B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9E5EB99E-53FC-4E51-9FD5-D86C7915CB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7200" y="2217599"/>
            <a:ext cx="3240000" cy="1391876"/>
          </a:xfrm>
        </p:spPr>
        <p:txBody>
          <a:bodyPr/>
          <a:lstStyle>
            <a:lvl1pPr marL="0" indent="0">
              <a:lnSpc>
                <a:spcPct val="84000"/>
              </a:lnSpc>
              <a:spcBef>
                <a:spcPts val="0"/>
              </a:spcBef>
              <a:buNone/>
              <a:defRPr sz="3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72AB3474-A6D3-4563-B7DE-7D9EA1E7A0CF}"/>
              </a:ext>
            </a:extLst>
          </p:cNvPr>
          <p:cNvSpPr>
            <a:spLocks noGrp="1" noChangeAspect="1"/>
          </p:cNvSpPr>
          <p:nvPr>
            <p:ph type="body" sz="quarter" idx="15"/>
          </p:nvPr>
        </p:nvSpPr>
        <p:spPr>
          <a:xfrm>
            <a:off x="4615200" y="2685600"/>
            <a:ext cx="1677600" cy="1645774"/>
          </a:xfrm>
          <a:custGeom>
            <a:avLst/>
            <a:gdLst>
              <a:gd name="connsiteX0" fmla="*/ 1192235 w 1770993"/>
              <a:gd name="connsiteY0" fmla="*/ 1 h 1737395"/>
              <a:gd name="connsiteX1" fmla="*/ 1711452 w 1770993"/>
              <a:gd name="connsiteY1" fmla="*/ 461230 h 1737395"/>
              <a:gd name="connsiteX2" fmla="*/ 1770993 w 1770993"/>
              <a:gd name="connsiteY2" fmla="*/ 796329 h 1737395"/>
              <a:gd name="connsiteX3" fmla="*/ 1770993 w 1770993"/>
              <a:gd name="connsiteY3" fmla="*/ 798377 h 1737395"/>
              <a:gd name="connsiteX4" fmla="*/ 1582303 w 1770993"/>
              <a:gd name="connsiteY4" fmla="*/ 1408787 h 1737395"/>
              <a:gd name="connsiteX5" fmla="*/ 734674 w 1770993"/>
              <a:gd name="connsiteY5" fmla="*/ 1658132 h 1737395"/>
              <a:gd name="connsiteX6" fmla="*/ 54655 w 1770993"/>
              <a:gd name="connsiteY6" fmla="*/ 659626 h 1737395"/>
              <a:gd name="connsiteX7" fmla="*/ 1082183 w 1770993"/>
              <a:gd name="connsiteY7" fmla="*/ 15555 h 1737395"/>
              <a:gd name="connsiteX8" fmla="*/ 1192235 w 1770993"/>
              <a:gd name="connsiteY8" fmla="*/ 1 h 1737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70993" h="1737395">
                <a:moveTo>
                  <a:pt x="1192235" y="1"/>
                </a:moveTo>
                <a:cubicBezTo>
                  <a:pt x="1431322" y="-18"/>
                  <a:pt x="1630423" y="220314"/>
                  <a:pt x="1711452" y="461230"/>
                </a:cubicBezTo>
                <a:cubicBezTo>
                  <a:pt x="1753076" y="584998"/>
                  <a:pt x="1770879" y="694707"/>
                  <a:pt x="1770993" y="796329"/>
                </a:cubicBezTo>
                <a:lnTo>
                  <a:pt x="1770993" y="798377"/>
                </a:lnTo>
                <a:cubicBezTo>
                  <a:pt x="1770736" y="1019700"/>
                  <a:pt x="1686601" y="1202656"/>
                  <a:pt x="1582303" y="1408787"/>
                </a:cubicBezTo>
                <a:cubicBezTo>
                  <a:pt x="1429845" y="1710091"/>
                  <a:pt x="1079830" y="1830563"/>
                  <a:pt x="734674" y="1658132"/>
                </a:cubicBezTo>
                <a:cubicBezTo>
                  <a:pt x="389497" y="1485691"/>
                  <a:pt x="-178688" y="939214"/>
                  <a:pt x="54655" y="659626"/>
                </a:cubicBezTo>
                <a:cubicBezTo>
                  <a:pt x="287999" y="380058"/>
                  <a:pt x="795462" y="96756"/>
                  <a:pt x="1082183" y="15555"/>
                </a:cubicBezTo>
                <a:cubicBezTo>
                  <a:pt x="1117968" y="5307"/>
                  <a:pt x="1155011" y="73"/>
                  <a:pt x="1192235" y="1"/>
                </a:cubicBezTo>
                <a:close/>
              </a:path>
            </a:pathLst>
          </a:custGeom>
          <a:gradFill>
            <a:gsLst>
              <a:gs pos="40000">
                <a:schemeClr val="accent1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lIns="90000" rIns="90000" anchor="ctr" anchorCtr="0">
            <a:noAutofit/>
          </a:bodyPr>
          <a:lstStyle>
            <a:lvl1pPr marL="0" indent="0" algn="ctr">
              <a:lnSpc>
                <a:spcPct val="84000"/>
              </a:lnSpc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0" indent="0" algn="ctr">
              <a:spcBef>
                <a:spcPts val="0"/>
              </a:spcBef>
              <a:buNone/>
              <a:defRPr sz="1500" b="1" cap="all" spc="200" baseline="0">
                <a:solidFill>
                  <a:schemeClr val="bg1"/>
                </a:solidFill>
                <a:latin typeface="+mj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aa-ET" dirty="0"/>
          </a:p>
          <a:p>
            <a:pPr lvl="1"/>
            <a:r>
              <a:rPr lang="aa-ET" dirty="0"/>
              <a:t>Next</a:t>
            </a:r>
            <a:endParaRPr lang="en-US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0DB9E88-C8EF-42C6-98FC-BA2A836CF1B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26000" y="0"/>
            <a:ext cx="6666001" cy="6225778"/>
          </a:xfrm>
          <a:custGeom>
            <a:avLst/>
            <a:gdLst>
              <a:gd name="connsiteX0" fmla="*/ 1166104 w 6666001"/>
              <a:gd name="connsiteY0" fmla="*/ 0 h 6225778"/>
              <a:gd name="connsiteX1" fmla="*/ 6666001 w 6666001"/>
              <a:gd name="connsiteY1" fmla="*/ 0 h 6225778"/>
              <a:gd name="connsiteX2" fmla="*/ 6666001 w 6666001"/>
              <a:gd name="connsiteY2" fmla="*/ 4582667 h 6225778"/>
              <a:gd name="connsiteX3" fmla="*/ 6583323 w 6666001"/>
              <a:gd name="connsiteY3" fmla="*/ 4761717 h 6225778"/>
              <a:gd name="connsiteX4" fmla="*/ 4712605 w 6666001"/>
              <a:gd name="connsiteY4" fmla="*/ 6189461 h 6225778"/>
              <a:gd name="connsiteX5" fmla="*/ 407399 w 6666001"/>
              <a:gd name="connsiteY5" fmla="*/ 3348621 h 6225778"/>
              <a:gd name="connsiteX6" fmla="*/ 1022429 w 6666001"/>
              <a:gd name="connsiteY6" fmla="*/ 127030 h 6225778"/>
              <a:gd name="connsiteX7" fmla="*/ 1022429 w 6666001"/>
              <a:gd name="connsiteY7" fmla="*/ 127029 h 62257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666001" h="6225778">
                <a:moveTo>
                  <a:pt x="1166104" y="0"/>
                </a:moveTo>
                <a:lnTo>
                  <a:pt x="6666001" y="0"/>
                </a:lnTo>
                <a:lnTo>
                  <a:pt x="6666001" y="4582667"/>
                </a:lnTo>
                <a:lnTo>
                  <a:pt x="6583323" y="4761717"/>
                </a:lnTo>
                <a:cubicBezTo>
                  <a:pt x="6111066" y="5706228"/>
                  <a:pt x="5459426" y="6394476"/>
                  <a:pt x="4712605" y="6189461"/>
                </a:cubicBezTo>
                <a:cubicBezTo>
                  <a:pt x="3218962" y="5779447"/>
                  <a:pt x="1227443" y="4315095"/>
                  <a:pt x="407399" y="3348621"/>
                </a:cubicBezTo>
                <a:cubicBezTo>
                  <a:pt x="-412643" y="2382134"/>
                  <a:pt x="114524" y="976365"/>
                  <a:pt x="1022429" y="127030"/>
                </a:cubicBezTo>
                <a:lnTo>
                  <a:pt x="1022429" y="127029"/>
                </a:lnTo>
                <a:close/>
              </a:path>
            </a:pathLst>
          </a:custGeom>
        </p:spPr>
        <p:txBody>
          <a:bodyPr wrap="square" tIns="72000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95037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ople">
    <p:bg>
      <p:bgPr>
        <a:gradFill>
          <a:gsLst>
            <a:gs pos="40000">
              <a:schemeClr val="accent4"/>
            </a:gs>
            <a:gs pos="100000">
              <a:srgbClr val="0A236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B7F05F80-BF6B-423C-B9B8-B5FF11EEDEA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963941" y="2066995"/>
            <a:ext cx="1785905" cy="1894371"/>
          </a:xfrm>
          <a:custGeom>
            <a:avLst/>
            <a:gdLst>
              <a:gd name="connsiteX0" fmla="*/ 684327 w 1785905"/>
              <a:gd name="connsiteY0" fmla="*/ 112 h 1894371"/>
              <a:gd name="connsiteX1" fmla="*/ 1604022 w 1785905"/>
              <a:gd name="connsiteY1" fmla="*/ 474010 h 1894371"/>
              <a:gd name="connsiteX2" fmla="*/ 1552196 w 1785905"/>
              <a:gd name="connsiteY2" fmla="*/ 1428498 h 1894371"/>
              <a:gd name="connsiteX3" fmla="*/ 288332 w 1785905"/>
              <a:gd name="connsiteY3" fmla="*/ 1761395 h 1894371"/>
              <a:gd name="connsiteX4" fmla="*/ 2565 w 1785905"/>
              <a:gd name="connsiteY4" fmla="*/ 480887 h 1894371"/>
              <a:gd name="connsiteX5" fmla="*/ 684327 w 1785905"/>
              <a:gd name="connsiteY5" fmla="*/ 112 h 1894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85905" h="1894371">
                <a:moveTo>
                  <a:pt x="684327" y="112"/>
                </a:moveTo>
                <a:cubicBezTo>
                  <a:pt x="1134514" y="7250"/>
                  <a:pt x="1351793" y="209730"/>
                  <a:pt x="1604022" y="474010"/>
                </a:cubicBezTo>
                <a:cubicBezTo>
                  <a:pt x="1856253" y="738308"/>
                  <a:pt x="1852700" y="1138758"/>
                  <a:pt x="1552196" y="1428498"/>
                </a:cubicBezTo>
                <a:cubicBezTo>
                  <a:pt x="1251683" y="1718230"/>
                  <a:pt x="489173" y="2100332"/>
                  <a:pt x="288332" y="1761395"/>
                </a:cubicBezTo>
                <a:cubicBezTo>
                  <a:pt x="87493" y="1422440"/>
                  <a:pt x="-18152" y="802619"/>
                  <a:pt x="2565" y="480887"/>
                </a:cubicBezTo>
                <a:cubicBezTo>
                  <a:pt x="23287" y="159169"/>
                  <a:pt x="368135" y="-4911"/>
                  <a:pt x="684327" y="112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8353E03-929D-4C6B-83C0-C5061C1152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2000" y="633600"/>
            <a:ext cx="5760000" cy="270000"/>
          </a:xfrm>
        </p:spPr>
        <p:txBody>
          <a:bodyPr/>
          <a:lstStyle>
            <a:lvl1pPr>
              <a:defRPr spc="200" baseline="0">
                <a:gradFill>
                  <a:gsLst>
                    <a:gs pos="4000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</a:defRPr>
            </a:lvl1pPr>
          </a:lstStyle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26DDCCF-8058-45D1-93FE-BE26A66E0C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86E09-06C7-424B-9E59-AEA84299AADE}" type="datetimeFigureOut">
              <a:rPr lang="aa-ET" smtClean="0"/>
              <a:t>05/24/2022</a:t>
            </a:fld>
            <a:endParaRPr lang="aa-ET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ED99D6D-401E-4498-A866-4ED366B82D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19C79AB-2DA3-408D-A4A1-96C17BD2B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C2DC17B-CD24-49BA-BF1C-B4B079E6CAC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7200" y="4370400"/>
            <a:ext cx="1872000" cy="4716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500" b="1" i="0" cap="none" spc="200" baseline="0">
                <a:solidFill>
                  <a:schemeClr val="accent1"/>
                </a:solidFill>
                <a:latin typeface="+mj-lt"/>
              </a:defRPr>
            </a:lvl2pPr>
            <a:lvl3pPr indent="0" algn="ctr">
              <a:buNone/>
              <a:defRPr/>
            </a:lvl3pPr>
            <a:lvl4pPr indent="0" algn="ctr">
              <a:buNone/>
              <a:defRPr/>
            </a:lvl4pPr>
            <a:lvl5pPr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CC7F4290-695F-4AB6-BDEB-B5C106E522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91700" y="4370400"/>
            <a:ext cx="1872000" cy="4716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500" b="1" i="0" cap="none" spc="200" baseline="0">
                <a:solidFill>
                  <a:schemeClr val="accent1"/>
                </a:solidFill>
                <a:latin typeface="+mj-lt"/>
              </a:defRPr>
            </a:lvl2pPr>
            <a:lvl3pPr indent="0" algn="ctr">
              <a:buNone/>
              <a:defRPr/>
            </a:lvl3pPr>
            <a:lvl4pPr indent="0" algn="ctr">
              <a:buNone/>
              <a:defRPr/>
            </a:lvl4pPr>
            <a:lvl5pPr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F6A159FE-980D-42D8-957F-63D98D67D9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46200" y="4370400"/>
            <a:ext cx="1872000" cy="4716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500" b="1" i="0" cap="none" spc="200" baseline="0">
                <a:solidFill>
                  <a:schemeClr val="accent1"/>
                </a:solidFill>
                <a:latin typeface="+mj-lt"/>
              </a:defRPr>
            </a:lvl2pPr>
            <a:lvl3pPr indent="0" algn="ctr">
              <a:buNone/>
              <a:defRPr/>
            </a:lvl3pPr>
            <a:lvl4pPr indent="0" algn="ctr">
              <a:buNone/>
              <a:defRPr/>
            </a:lvl4pPr>
            <a:lvl5pPr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E913ECA-1C96-4D8D-B9DD-5B4A5B84BE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400700" y="4370400"/>
            <a:ext cx="1872000" cy="4716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500" b="1" i="0" cap="none" spc="200" baseline="0">
                <a:solidFill>
                  <a:schemeClr val="accent1"/>
                </a:solidFill>
                <a:latin typeface="+mj-lt"/>
              </a:defRPr>
            </a:lvl2pPr>
            <a:lvl3pPr indent="0" algn="ctr">
              <a:buNone/>
              <a:defRPr/>
            </a:lvl3pPr>
            <a:lvl4pPr indent="0" algn="ctr">
              <a:buNone/>
              <a:defRPr/>
            </a:lvl4pPr>
            <a:lvl5pPr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D439C973-CD81-482A-AC26-F0628345578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55200" y="4370400"/>
            <a:ext cx="1872000" cy="471600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500" b="1" i="0" cap="none" spc="200" baseline="0">
                <a:solidFill>
                  <a:schemeClr val="accent1"/>
                </a:solidFill>
                <a:latin typeface="+mj-lt"/>
              </a:defRPr>
            </a:lvl2pPr>
            <a:lvl3pPr indent="0" algn="ctr">
              <a:buNone/>
              <a:defRPr/>
            </a:lvl3pPr>
            <a:lvl4pPr indent="0" algn="ctr">
              <a:buNone/>
              <a:defRPr/>
            </a:lvl4pPr>
            <a:lvl5pPr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41EBB5C-D17A-460C-B06D-61E1B286B2C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7201" y="2087320"/>
            <a:ext cx="1877175" cy="1853720"/>
          </a:xfrm>
          <a:custGeom>
            <a:avLst/>
            <a:gdLst>
              <a:gd name="connsiteX0" fmla="*/ 988272 w 1877175"/>
              <a:gd name="connsiteY0" fmla="*/ 1482 h 1853720"/>
              <a:gd name="connsiteX1" fmla="*/ 1250836 w 1877175"/>
              <a:gd name="connsiteY1" fmla="*/ 4461 h 1853720"/>
              <a:gd name="connsiteX2" fmla="*/ 1876599 w 1877175"/>
              <a:gd name="connsiteY2" fmla="*/ 727064 h 1853720"/>
              <a:gd name="connsiteX3" fmla="*/ 1198701 w 1877175"/>
              <a:gd name="connsiteY3" fmla="*/ 1844483 h 1853720"/>
              <a:gd name="connsiteX4" fmla="*/ 103622 w 1877175"/>
              <a:gd name="connsiteY4" fmla="*/ 1121873 h 1853720"/>
              <a:gd name="connsiteX5" fmla="*/ 260066 w 1877175"/>
              <a:gd name="connsiteY5" fmla="*/ 302441 h 1853720"/>
              <a:gd name="connsiteX6" fmla="*/ 988272 w 1877175"/>
              <a:gd name="connsiteY6" fmla="*/ 1482 h 1853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77175" h="1853720">
                <a:moveTo>
                  <a:pt x="988272" y="1482"/>
                </a:moveTo>
                <a:cubicBezTo>
                  <a:pt x="1072579" y="-1725"/>
                  <a:pt x="1159581" y="738"/>
                  <a:pt x="1250836" y="4461"/>
                </a:cubicBezTo>
                <a:cubicBezTo>
                  <a:pt x="1615873" y="19367"/>
                  <a:pt x="1891493" y="309894"/>
                  <a:pt x="1876599" y="727064"/>
                </a:cubicBezTo>
                <a:cubicBezTo>
                  <a:pt x="1861693" y="1144233"/>
                  <a:pt x="1578619" y="1948778"/>
                  <a:pt x="1198701" y="1844483"/>
                </a:cubicBezTo>
                <a:cubicBezTo>
                  <a:pt x="818772" y="1740174"/>
                  <a:pt x="312213" y="1367699"/>
                  <a:pt x="103622" y="1121873"/>
                </a:cubicBezTo>
                <a:cubicBezTo>
                  <a:pt x="-104956" y="876054"/>
                  <a:pt x="29127" y="518473"/>
                  <a:pt x="260066" y="302441"/>
                </a:cubicBezTo>
                <a:cubicBezTo>
                  <a:pt x="506663" y="71747"/>
                  <a:pt x="735348" y="11103"/>
                  <a:pt x="988272" y="1482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E3F447A8-7D48-4583-BBD5-21751174B87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107804" y="2142792"/>
            <a:ext cx="1858465" cy="1742777"/>
          </a:xfrm>
          <a:custGeom>
            <a:avLst/>
            <a:gdLst>
              <a:gd name="connsiteX0" fmla="*/ 1105433 w 1858465"/>
              <a:gd name="connsiteY0" fmla="*/ 3003 h 1742777"/>
              <a:gd name="connsiteX1" fmla="*/ 1638922 w 1858465"/>
              <a:gd name="connsiteY1" fmla="*/ 379412 h 1742777"/>
              <a:gd name="connsiteX2" fmla="*/ 1633363 w 1858465"/>
              <a:gd name="connsiteY2" fmla="*/ 1686370 h 1742777"/>
              <a:gd name="connsiteX3" fmla="*/ 322526 w 1858465"/>
              <a:gd name="connsiteY3" fmla="*/ 1630980 h 1742777"/>
              <a:gd name="connsiteX4" fmla="*/ 34586 w 1858465"/>
              <a:gd name="connsiteY4" fmla="*/ 848015 h 1742777"/>
              <a:gd name="connsiteX5" fmla="*/ 730370 w 1858465"/>
              <a:gd name="connsiteY5" fmla="*/ 82312 h 1742777"/>
              <a:gd name="connsiteX6" fmla="*/ 1105433 w 1858465"/>
              <a:gd name="connsiteY6" fmla="*/ 3003 h 174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65" h="1742777">
                <a:moveTo>
                  <a:pt x="1105433" y="3003"/>
                </a:moveTo>
                <a:cubicBezTo>
                  <a:pt x="1314513" y="23694"/>
                  <a:pt x="1512615" y="151127"/>
                  <a:pt x="1638922" y="379412"/>
                </a:cubicBezTo>
                <a:cubicBezTo>
                  <a:pt x="1841003" y="744673"/>
                  <a:pt x="2012733" y="1580096"/>
                  <a:pt x="1633363" y="1686370"/>
                </a:cubicBezTo>
                <a:cubicBezTo>
                  <a:pt x="1253977" y="1792638"/>
                  <a:pt x="627933" y="1734262"/>
                  <a:pt x="322526" y="1630980"/>
                </a:cubicBezTo>
                <a:cubicBezTo>
                  <a:pt x="17133" y="1527698"/>
                  <a:pt x="-52103" y="1152133"/>
                  <a:pt x="34586" y="848015"/>
                </a:cubicBezTo>
                <a:cubicBezTo>
                  <a:pt x="157997" y="415015"/>
                  <a:pt x="409814" y="257546"/>
                  <a:pt x="730370" y="82312"/>
                </a:cubicBezTo>
                <a:cubicBezTo>
                  <a:pt x="850586" y="16600"/>
                  <a:pt x="979986" y="-9412"/>
                  <a:pt x="1105433" y="3003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B949A7FA-7F34-4EF5-BD02-5B7BB86E004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370609" y="2087320"/>
            <a:ext cx="1877175" cy="1853720"/>
          </a:xfrm>
          <a:custGeom>
            <a:avLst/>
            <a:gdLst>
              <a:gd name="connsiteX0" fmla="*/ 608417 w 1877175"/>
              <a:gd name="connsiteY0" fmla="*/ 17 h 1853720"/>
              <a:gd name="connsiteX1" fmla="*/ 678475 w 1877175"/>
              <a:gd name="connsiteY1" fmla="*/ 9238 h 1853720"/>
              <a:gd name="connsiteX2" fmla="*/ 1773554 w 1877175"/>
              <a:gd name="connsiteY2" fmla="*/ 731848 h 1853720"/>
              <a:gd name="connsiteX3" fmla="*/ 1617110 w 1877175"/>
              <a:gd name="connsiteY3" fmla="*/ 1551280 h 1853720"/>
              <a:gd name="connsiteX4" fmla="*/ 626340 w 1877175"/>
              <a:gd name="connsiteY4" fmla="*/ 1849260 h 1853720"/>
              <a:gd name="connsiteX5" fmla="*/ 577 w 1877175"/>
              <a:gd name="connsiteY5" fmla="*/ 1126657 h 1853720"/>
              <a:gd name="connsiteX6" fmla="*/ 608417 w 1877175"/>
              <a:gd name="connsiteY6" fmla="*/ 17 h 1853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77175" h="1853720">
                <a:moveTo>
                  <a:pt x="608417" y="17"/>
                </a:moveTo>
                <a:cubicBezTo>
                  <a:pt x="631364" y="-249"/>
                  <a:pt x="654730" y="2720"/>
                  <a:pt x="678475" y="9238"/>
                </a:cubicBezTo>
                <a:cubicBezTo>
                  <a:pt x="1058404" y="113547"/>
                  <a:pt x="1564963" y="486022"/>
                  <a:pt x="1773554" y="731848"/>
                </a:cubicBezTo>
                <a:cubicBezTo>
                  <a:pt x="1982132" y="977667"/>
                  <a:pt x="1848049" y="1335248"/>
                  <a:pt x="1617110" y="1551280"/>
                </a:cubicBezTo>
                <a:cubicBezTo>
                  <a:pt x="1288314" y="1858872"/>
                  <a:pt x="991362" y="1864154"/>
                  <a:pt x="626340" y="1849260"/>
                </a:cubicBezTo>
                <a:cubicBezTo>
                  <a:pt x="261303" y="1834354"/>
                  <a:pt x="-14317" y="1543827"/>
                  <a:pt x="577" y="1126657"/>
                </a:cubicBezTo>
                <a:cubicBezTo>
                  <a:pt x="14552" y="735561"/>
                  <a:pt x="264221" y="3998"/>
                  <a:pt x="608417" y="17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031D6151-C330-4D49-8BD3-C7B72B1A82A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631856" y="2124238"/>
            <a:ext cx="1892476" cy="1779884"/>
          </a:xfrm>
          <a:custGeom>
            <a:avLst/>
            <a:gdLst>
              <a:gd name="connsiteX0" fmla="*/ 961170 w 1892476"/>
              <a:gd name="connsiteY0" fmla="*/ 1060 h 1779884"/>
              <a:gd name="connsiteX1" fmla="*/ 1443811 w 1892476"/>
              <a:gd name="connsiteY1" fmla="*/ 242709 h 1779884"/>
              <a:gd name="connsiteX2" fmla="*/ 1754599 w 1892476"/>
              <a:gd name="connsiteY2" fmla="*/ 1512190 h 1779884"/>
              <a:gd name="connsiteX3" fmla="*/ 469299 w 1892476"/>
              <a:gd name="connsiteY3" fmla="*/ 1775565 h 1779884"/>
              <a:gd name="connsiteX4" fmla="*/ 495 w 1892476"/>
              <a:gd name="connsiteY4" fmla="*/ 1085516 h 1779884"/>
              <a:gd name="connsiteX5" fmla="*/ 490372 w 1892476"/>
              <a:gd name="connsiteY5" fmla="*/ 174233 h 1779884"/>
              <a:gd name="connsiteX6" fmla="*/ 961170 w 1892476"/>
              <a:gd name="connsiteY6" fmla="*/ 1060 h 177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92476" h="1779884">
                <a:moveTo>
                  <a:pt x="961170" y="1060"/>
                </a:moveTo>
                <a:cubicBezTo>
                  <a:pt x="1130390" y="10937"/>
                  <a:pt x="1301585" y="89951"/>
                  <a:pt x="1443811" y="242709"/>
                </a:cubicBezTo>
                <a:cubicBezTo>
                  <a:pt x="1728254" y="548232"/>
                  <a:pt x="2096989" y="1317295"/>
                  <a:pt x="1754599" y="1512190"/>
                </a:cubicBezTo>
                <a:cubicBezTo>
                  <a:pt x="1412191" y="1707082"/>
                  <a:pt x="790620" y="1801894"/>
                  <a:pt x="469299" y="1775565"/>
                </a:cubicBezTo>
                <a:cubicBezTo>
                  <a:pt x="147992" y="1749232"/>
                  <a:pt x="-10045" y="1401573"/>
                  <a:pt x="495" y="1085516"/>
                </a:cubicBezTo>
                <a:cubicBezTo>
                  <a:pt x="15489" y="635522"/>
                  <a:pt x="221731" y="421810"/>
                  <a:pt x="490372" y="174233"/>
                </a:cubicBezTo>
                <a:cubicBezTo>
                  <a:pt x="624702" y="50443"/>
                  <a:pt x="791949" y="-8817"/>
                  <a:pt x="961170" y="106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00682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24.xml"/><Relationship Id="rId21" Type="http://schemas.openxmlformats.org/officeDocument/2006/relationships/image" Target="../media/image3.svg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3.xml"/><Relationship Id="rId16" Type="http://schemas.openxmlformats.org/officeDocument/2006/relationships/vmlDrawing" Target="../drawings/vmlDrawing2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31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40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39.xml"/><Relationship Id="rId9" Type="http://schemas.openxmlformats.org/officeDocument/2006/relationships/vmlDrawing" Target="../drawings/vmlDrawing3.vml"/><Relationship Id="rId14" Type="http://schemas.openxmlformats.org/officeDocument/2006/relationships/image" Target="../media/image3.sv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oleObject" Target="../embeddings/oleObject4.bin"/><Relationship Id="rId5" Type="http://schemas.openxmlformats.org/officeDocument/2006/relationships/tags" Target="../tags/tag5.xml"/><Relationship Id="rId4" Type="http://schemas.openxmlformats.org/officeDocument/2006/relationships/vmlDrawing" Target="../drawings/vmlDrawing4.vml"/><Relationship Id="rId9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766F9F1-5D0C-40AE-8087-2FEF1E3D8A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640373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" name="think-cell Slide" r:id="rId25" imgW="415" imgH="416" progId="TCLayout.ActiveDocument.1">
                  <p:embed/>
                </p:oleObj>
              </mc:Choice>
              <mc:Fallback>
                <p:oleObj name="think-cell Slide" r:id="rId25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766F9F1-5D0C-40AE-8087-2FEF1E3D8A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96AB0323-2909-49BE-B4C2-45C89A1269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200" y="633600"/>
            <a:ext cx="10917600" cy="27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aa-ET" dirty="0"/>
              <a:t>ALLES MANUEEL IN HOOFDLETTERS TYP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F0D8DFA3-F844-47AA-9402-7E2E0509C1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7200" y="1440000"/>
            <a:ext cx="10917600" cy="43513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aa-ET" dirty="0"/>
          </a:p>
          <a:p>
            <a:pPr lvl="5"/>
            <a:r>
              <a:rPr lang="aa-ET" dirty="0"/>
              <a:t>6</a:t>
            </a:r>
          </a:p>
          <a:p>
            <a:pPr lvl="6"/>
            <a:r>
              <a:rPr lang="aa-ET" dirty="0"/>
              <a:t>7</a:t>
            </a:r>
          </a:p>
          <a:p>
            <a:pPr lvl="7"/>
            <a:r>
              <a:rPr lang="aa-ET" dirty="0"/>
              <a:t>8</a:t>
            </a:r>
          </a:p>
          <a:p>
            <a:pPr lvl="8"/>
            <a:r>
              <a:rPr lang="aa-ET" dirty="0"/>
              <a:t>9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0117D7D1-C41E-48A3-A027-055B8D7F9B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200" y="6447600"/>
            <a:ext cx="274320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E86E09-06C7-424B-9E59-AEA84299AADE}" type="datetimeFigureOut">
              <a:rPr lang="aa-ET" smtClean="0"/>
              <a:t>05/24/2022</a:t>
            </a:fld>
            <a:endParaRPr lang="aa-ET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DF365E6E-5324-45B2-8808-0E1313128A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47600"/>
            <a:ext cx="411480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aa-ET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1D4069B-E42A-4590-B3BD-93D32E5073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11600" y="6447600"/>
            <a:ext cx="274320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48492486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9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710" r:id="rId7"/>
    <p:sldLayoutId id="2147483724" r:id="rId8"/>
    <p:sldLayoutId id="2147483725" r:id="rId9"/>
    <p:sldLayoutId id="2147483726" r:id="rId10"/>
    <p:sldLayoutId id="2147483720" r:id="rId11"/>
    <p:sldLayoutId id="2147483728" r:id="rId12"/>
    <p:sldLayoutId id="2147483729" r:id="rId13"/>
    <p:sldLayoutId id="2147483723" r:id="rId14"/>
    <p:sldLayoutId id="2147483721" r:id="rId15"/>
    <p:sldLayoutId id="2147483722" r:id="rId16"/>
    <p:sldLayoutId id="2147483692" r:id="rId17"/>
    <p:sldLayoutId id="2147483693" r:id="rId18"/>
    <p:sldLayoutId id="2147483727" r:id="rId19"/>
    <p:sldLayoutId id="2147483694" r:id="rId20"/>
    <p:sldLayoutId id="2147483695" r:id="rId2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800" b="1" kern="1200" cap="none" spc="200" baseline="0">
          <a:gradFill>
            <a:gsLst>
              <a:gs pos="40000">
                <a:schemeClr val="accent1"/>
              </a:gs>
              <a:gs pos="100000">
                <a:schemeClr val="accent3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00000"/>
        </a:lnSpc>
        <a:spcBef>
          <a:spcPts val="1000"/>
        </a:spcBef>
        <a:buFont typeface="Calibri Light" panose="020F0302020204030204" pitchFamily="34" charset="0"/>
        <a:buChar char="-"/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270000" algn="l" defTabSz="914400" rtl="0" eaLnBrk="1" latinLnBrk="0" hangingPunct="1">
        <a:lnSpc>
          <a:spcPct val="100000"/>
        </a:lnSpc>
        <a:spcBef>
          <a:spcPts val="500"/>
        </a:spcBef>
        <a:buFont typeface="Calibri Light" panose="020F0302020204030204" pitchFamily="34" charset="0"/>
        <a:buChar char="-"/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70000" indent="-270000" algn="l" defTabSz="914400" rtl="0" eaLnBrk="1" latinLnBrk="0" hangingPunct="1">
        <a:lnSpc>
          <a:spcPct val="100000"/>
        </a:lnSpc>
        <a:spcBef>
          <a:spcPts val="500"/>
        </a:spcBef>
        <a:buFont typeface="Calibri Light" panose="020F0302020204030204" pitchFamily="34" charset="0"/>
        <a:buChar char="-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620000" indent="-270000" algn="l" defTabSz="914400" rtl="0" eaLnBrk="1" latinLnBrk="0" hangingPunct="1">
        <a:lnSpc>
          <a:spcPct val="100000"/>
        </a:lnSpc>
        <a:spcBef>
          <a:spcPts val="500"/>
        </a:spcBef>
        <a:buFont typeface="Calibri Light" panose="020F0302020204030204" pitchFamily="34" charset="0"/>
        <a:buChar char="-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070000" indent="-270000" algn="l" defTabSz="914400" rtl="0" eaLnBrk="1" latinLnBrk="0" hangingPunct="1">
        <a:lnSpc>
          <a:spcPct val="100000"/>
        </a:lnSpc>
        <a:spcBef>
          <a:spcPts val="500"/>
        </a:spcBef>
        <a:buFont typeface="Calibri Light" panose="020F0302020204030204" pitchFamily="34" charset="0"/>
        <a:buChar char="-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520000" indent="-270000" algn="l" defTabSz="914400" rtl="0" eaLnBrk="1" latinLnBrk="0" hangingPunct="1">
        <a:lnSpc>
          <a:spcPct val="100000"/>
        </a:lnSpc>
        <a:spcBef>
          <a:spcPts val="500"/>
        </a:spcBef>
        <a:buFont typeface="Calibri Light" panose="020F0302020204030204" pitchFamily="34" charset="0"/>
        <a:buChar char="-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000" indent="-270000" algn="l" defTabSz="914400" rtl="0" eaLnBrk="1" latinLnBrk="0" hangingPunct="1">
        <a:lnSpc>
          <a:spcPct val="100000"/>
        </a:lnSpc>
        <a:spcBef>
          <a:spcPts val="500"/>
        </a:spcBef>
        <a:buFont typeface="Calibri Light" panose="020F0302020204030204" pitchFamily="34" charset="0"/>
        <a:buChar char="-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2400"/>
        </a:spcBef>
        <a:spcAft>
          <a:spcPts val="700"/>
        </a:spcAft>
        <a:buFont typeface="Arial" panose="020B0604020202020204" pitchFamily="34" charset="0"/>
        <a:buNone/>
        <a:defRPr sz="2300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aa-E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E24DFA6-0A00-411B-874F-142D24B4D4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487264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" name="think-cell Slide" r:id="rId18" imgW="415" imgH="416" progId="TCLayout.ActiveDocument.1">
                  <p:embed/>
                </p:oleObj>
              </mc:Choice>
              <mc:Fallback>
                <p:oleObj name="think-cell Slide" r:id="rId18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E24DFA6-0A00-411B-874F-142D24B4D4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96AB0323-2909-49BE-B4C2-45C89A1269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200" y="633600"/>
            <a:ext cx="10917600" cy="5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F0D8DFA3-F844-47AA-9402-7E2E0509C1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7200" y="1800000"/>
            <a:ext cx="10917600" cy="43513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aa-ET" dirty="0"/>
          </a:p>
          <a:p>
            <a:pPr lvl="5"/>
            <a:r>
              <a:rPr lang="aa-ET" dirty="0"/>
              <a:t>6</a:t>
            </a:r>
          </a:p>
          <a:p>
            <a:pPr lvl="6"/>
            <a:r>
              <a:rPr lang="aa-ET" dirty="0"/>
              <a:t>7</a:t>
            </a:r>
          </a:p>
          <a:p>
            <a:pPr lvl="7"/>
            <a:r>
              <a:rPr lang="aa-ET" dirty="0"/>
              <a:t>8</a:t>
            </a:r>
          </a:p>
          <a:p>
            <a:pPr lvl="8"/>
            <a:r>
              <a:rPr lang="aa-ET" dirty="0"/>
              <a:t>9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0117D7D1-C41E-48A3-A027-055B8D7F9B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200" y="6447600"/>
            <a:ext cx="274320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E86E09-06C7-424B-9E59-AEA84299AADE}" type="datetimeFigureOut">
              <a:rPr lang="aa-ET" smtClean="0"/>
              <a:t>05/24/2022</a:t>
            </a:fld>
            <a:endParaRPr lang="aa-ET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DF365E6E-5324-45B2-8808-0E1313128A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47600"/>
            <a:ext cx="411480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aa-ET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1D4069B-E42A-4590-B3BD-93D32E5073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11600" y="6447600"/>
            <a:ext cx="274320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102337840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84" r:id="rId7"/>
    <p:sldLayoutId id="2147483685" r:id="rId8"/>
    <p:sldLayoutId id="2147483730" r:id="rId9"/>
    <p:sldLayoutId id="2147483732" r:id="rId10"/>
    <p:sldLayoutId id="2147483733" r:id="rId11"/>
    <p:sldLayoutId id="2147483735" r:id="rId12"/>
    <p:sldLayoutId id="2147483736" r:id="rId13"/>
    <p:sldLayoutId id="214748373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540000" indent="-540000" algn="l" defTabSz="914400" rtl="0" eaLnBrk="1" latinLnBrk="0" hangingPunct="1">
        <a:lnSpc>
          <a:spcPct val="100000"/>
        </a:lnSpc>
        <a:spcBef>
          <a:spcPts val="1000"/>
        </a:spcBef>
        <a:buFontTx/>
        <a:buBlip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</a:buBlip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1080000" indent="-540000" algn="l" defTabSz="914400" rtl="0" eaLnBrk="1" latinLnBrk="0" hangingPunct="1">
        <a:lnSpc>
          <a:spcPct val="100000"/>
        </a:lnSpc>
        <a:spcBef>
          <a:spcPts val="500"/>
        </a:spcBef>
        <a:buFontTx/>
        <a:buBlip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</a:buBlip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1620000" indent="-540000" algn="l" defTabSz="914400" rtl="0" eaLnBrk="1" latinLnBrk="0" hangingPunct="1">
        <a:lnSpc>
          <a:spcPct val="100000"/>
        </a:lnSpc>
        <a:spcBef>
          <a:spcPts val="500"/>
        </a:spcBef>
        <a:buFontTx/>
        <a:buBlip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</a:buBlip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160000" indent="-540000" algn="l" defTabSz="914400" rtl="0" eaLnBrk="1" latinLnBrk="0" hangingPunct="1">
        <a:lnSpc>
          <a:spcPct val="100000"/>
        </a:lnSpc>
        <a:spcBef>
          <a:spcPts val="500"/>
        </a:spcBef>
        <a:buFontTx/>
        <a:buBlip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</a:buBlip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2700000" indent="-540000" algn="l" defTabSz="914400" rtl="0" eaLnBrk="1" latinLnBrk="0" hangingPunct="1">
        <a:lnSpc>
          <a:spcPct val="100000"/>
        </a:lnSpc>
        <a:spcBef>
          <a:spcPts val="500"/>
        </a:spcBef>
        <a:buFontTx/>
        <a:buBlip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</a:buBlip>
        <a:defRPr sz="3000" kern="1200">
          <a:solidFill>
            <a:schemeClr val="tx1"/>
          </a:solidFill>
          <a:latin typeface="+mn-lt"/>
          <a:ea typeface="+mn-ea"/>
          <a:cs typeface="+mn-cs"/>
        </a:defRPr>
      </a:lvl5pPr>
      <a:lvl6pPr marL="3240000" indent="-540000" algn="l" defTabSz="914400" rtl="0" eaLnBrk="1" latinLnBrk="0" hangingPunct="1">
        <a:lnSpc>
          <a:spcPct val="100000"/>
        </a:lnSpc>
        <a:spcBef>
          <a:spcPts val="500"/>
        </a:spcBef>
        <a:buFontTx/>
        <a:buBlip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</a:buBlip>
        <a:defRPr sz="3000" kern="1200">
          <a:solidFill>
            <a:schemeClr val="tx1"/>
          </a:solidFill>
          <a:latin typeface="+mn-lt"/>
          <a:ea typeface="+mn-ea"/>
          <a:cs typeface="+mn-cs"/>
        </a:defRPr>
      </a:lvl6pPr>
      <a:lvl7pPr marL="3780000" indent="-540000" algn="l" defTabSz="914400" rtl="0" eaLnBrk="1" latinLnBrk="0" hangingPunct="1">
        <a:lnSpc>
          <a:spcPct val="100000"/>
        </a:lnSpc>
        <a:spcBef>
          <a:spcPts val="500"/>
        </a:spcBef>
        <a:buFontTx/>
        <a:buBlip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</a:buBlip>
        <a:defRPr sz="30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30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0"/>
        </a:spcBef>
        <a:spcAft>
          <a:spcPts val="1000"/>
        </a:spcAft>
        <a:buFont typeface="Arial" panose="020B0604020202020204" pitchFamily="34" charset="0"/>
        <a:buNone/>
        <a:defRPr sz="3000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aa-E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0B74172-9597-4A83-BC4A-0C61F398AC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07735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" name="think-cell Slide" r:id="rId11" imgW="415" imgH="416" progId="TCLayout.ActiveDocument.1">
                  <p:embed/>
                </p:oleObj>
              </mc:Choice>
              <mc:Fallback>
                <p:oleObj name="think-cell Slide" r:id="rId11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0B74172-9597-4A83-BC4A-0C61F398AC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96AB0323-2909-49BE-B4C2-45C89A1269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200" y="633600"/>
            <a:ext cx="10917600" cy="5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F0D8DFA3-F844-47AA-9402-7E2E0509C1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7200" y="1800000"/>
            <a:ext cx="10917600" cy="43513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aa-ET" dirty="0"/>
          </a:p>
          <a:p>
            <a:pPr lvl="5"/>
            <a:r>
              <a:rPr lang="aa-ET" dirty="0"/>
              <a:t>6</a:t>
            </a:r>
          </a:p>
          <a:p>
            <a:pPr lvl="6"/>
            <a:r>
              <a:rPr lang="aa-ET" dirty="0"/>
              <a:t>7</a:t>
            </a:r>
          </a:p>
          <a:p>
            <a:pPr lvl="7"/>
            <a:r>
              <a:rPr lang="aa-ET" dirty="0"/>
              <a:t>8</a:t>
            </a:r>
          </a:p>
          <a:p>
            <a:pPr lvl="8"/>
            <a:r>
              <a:rPr lang="aa-ET" dirty="0"/>
              <a:t>9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0117D7D1-C41E-48A3-A027-055B8D7F9B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200" y="6447600"/>
            <a:ext cx="274320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E86E09-06C7-424B-9E59-AEA84299AADE}" type="datetimeFigureOut">
              <a:rPr lang="aa-ET" smtClean="0"/>
              <a:t>05/24/2022</a:t>
            </a:fld>
            <a:endParaRPr lang="aa-ET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DF365E6E-5324-45B2-8808-0E1313128A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47600"/>
            <a:ext cx="411480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aa-ET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1D4069B-E42A-4590-B3BD-93D32E5073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11600" y="6447600"/>
            <a:ext cx="274320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362324534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9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3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1E377D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914400" rtl="0" eaLnBrk="1" latinLnBrk="0" hangingPunct="1">
        <a:lnSpc>
          <a:spcPct val="100000"/>
        </a:lnSpc>
        <a:spcBef>
          <a:spcPts val="1000"/>
        </a:spcBef>
        <a:buFontTx/>
        <a:buBlip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</a:buBlip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1080000" indent="-540000" algn="l" defTabSz="914400" rtl="0" eaLnBrk="1" latinLnBrk="0" hangingPunct="1">
        <a:lnSpc>
          <a:spcPct val="100000"/>
        </a:lnSpc>
        <a:spcBef>
          <a:spcPts val="500"/>
        </a:spcBef>
        <a:buFontTx/>
        <a:buBlip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</a:buBlip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1620000" indent="-540000" algn="l" defTabSz="914400" rtl="0" eaLnBrk="1" latinLnBrk="0" hangingPunct="1">
        <a:lnSpc>
          <a:spcPct val="100000"/>
        </a:lnSpc>
        <a:spcBef>
          <a:spcPts val="500"/>
        </a:spcBef>
        <a:buFontTx/>
        <a:buBlip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</a:buBlip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160000" indent="-540000" algn="l" defTabSz="914400" rtl="0" eaLnBrk="1" latinLnBrk="0" hangingPunct="1">
        <a:lnSpc>
          <a:spcPct val="100000"/>
        </a:lnSpc>
        <a:spcBef>
          <a:spcPts val="500"/>
        </a:spcBef>
        <a:buFontTx/>
        <a:buBlip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</a:buBlip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2700000" indent="-540000" algn="l" defTabSz="914400" rtl="0" eaLnBrk="1" latinLnBrk="0" hangingPunct="1">
        <a:lnSpc>
          <a:spcPct val="100000"/>
        </a:lnSpc>
        <a:spcBef>
          <a:spcPts val="500"/>
        </a:spcBef>
        <a:buFontTx/>
        <a:buBlip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</a:buBlip>
        <a:defRPr sz="3000" kern="1200">
          <a:solidFill>
            <a:schemeClr val="tx1"/>
          </a:solidFill>
          <a:latin typeface="+mn-lt"/>
          <a:ea typeface="+mn-ea"/>
          <a:cs typeface="+mn-cs"/>
        </a:defRPr>
      </a:lvl5pPr>
      <a:lvl6pPr marL="3240000" indent="-540000" algn="l" defTabSz="914400" rtl="0" eaLnBrk="1" latinLnBrk="0" hangingPunct="1">
        <a:lnSpc>
          <a:spcPct val="100000"/>
        </a:lnSpc>
        <a:spcBef>
          <a:spcPts val="500"/>
        </a:spcBef>
        <a:buFontTx/>
        <a:buBlip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</a:buBlip>
        <a:defRPr sz="3000" kern="1200">
          <a:solidFill>
            <a:schemeClr val="tx1"/>
          </a:solidFill>
          <a:latin typeface="+mn-lt"/>
          <a:ea typeface="+mn-ea"/>
          <a:cs typeface="+mn-cs"/>
        </a:defRPr>
      </a:lvl6pPr>
      <a:lvl7pPr marL="3780000" indent="-540000" algn="l" defTabSz="914400" rtl="0" eaLnBrk="1" latinLnBrk="0" hangingPunct="1">
        <a:lnSpc>
          <a:spcPct val="100000"/>
        </a:lnSpc>
        <a:spcBef>
          <a:spcPts val="500"/>
        </a:spcBef>
        <a:buFontTx/>
        <a:buBlip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</a:buBlip>
        <a:defRPr sz="30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30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0"/>
        </a:spcBef>
        <a:spcAft>
          <a:spcPts val="1000"/>
        </a:spcAft>
        <a:buFont typeface="Arial" panose="020B0604020202020204" pitchFamily="34" charset="0"/>
        <a:buNone/>
        <a:defRPr sz="3000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aa-E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1AA16D6-E04D-400A-999D-53D40028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570252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1AA16D6-E04D-400A-999D-53D40028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96AB0323-2909-49BE-B4C2-45C89A1269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200" y="633600"/>
            <a:ext cx="10917600" cy="5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l-NL" dirty="0"/>
              <a:t>Klik om stijl te bewerken</a:t>
            </a:r>
            <a:endParaRPr lang="aa-ET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F0D8DFA3-F844-47AA-9402-7E2E0509C1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7200" y="1800000"/>
            <a:ext cx="10917600" cy="43513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aa-ET" dirty="0"/>
          </a:p>
          <a:p>
            <a:pPr lvl="5"/>
            <a:r>
              <a:rPr lang="aa-ET" dirty="0"/>
              <a:t>6</a:t>
            </a:r>
          </a:p>
          <a:p>
            <a:pPr lvl="6"/>
            <a:r>
              <a:rPr lang="aa-ET" dirty="0"/>
              <a:t>7</a:t>
            </a:r>
          </a:p>
          <a:p>
            <a:pPr lvl="7"/>
            <a:r>
              <a:rPr lang="aa-ET" dirty="0"/>
              <a:t>8</a:t>
            </a:r>
          </a:p>
          <a:p>
            <a:pPr lvl="8"/>
            <a:r>
              <a:rPr lang="aa-ET" dirty="0"/>
              <a:t>9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0117D7D1-C41E-48A3-A027-055B8D7F9B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200" y="6447600"/>
            <a:ext cx="274320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E86E09-06C7-424B-9E59-AEA84299AADE}" type="datetimeFigureOut">
              <a:rPr lang="aa-ET" smtClean="0"/>
              <a:t>05/24/2022</a:t>
            </a:fld>
            <a:endParaRPr lang="aa-ET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DF365E6E-5324-45B2-8808-0E1313128A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47600"/>
            <a:ext cx="411480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aa-ET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1D4069B-E42A-4590-B3BD-93D32E5073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11600" y="6447600"/>
            <a:ext cx="274320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E5E184-4B6C-402C-89C4-B0EE710992FB}" type="slidenum">
              <a:rPr lang="aa-ET" smtClean="0"/>
              <a:t>‹nr.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250765939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9" r:id="rId1"/>
    <p:sldLayoutId id="2147483718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540000" indent="-540000" algn="l" defTabSz="914400" rtl="0" eaLnBrk="1" latinLnBrk="0" hangingPunct="1">
        <a:lnSpc>
          <a:spcPct val="100000"/>
        </a:lnSpc>
        <a:spcBef>
          <a:spcPts val="1000"/>
        </a:spcBef>
        <a:buFontTx/>
        <a:buBlip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</a:buBlip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1080000" indent="-540000" algn="l" defTabSz="914400" rtl="0" eaLnBrk="1" latinLnBrk="0" hangingPunct="1">
        <a:lnSpc>
          <a:spcPct val="100000"/>
        </a:lnSpc>
        <a:spcBef>
          <a:spcPts val="500"/>
        </a:spcBef>
        <a:buFontTx/>
        <a:buBlip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</a:buBlip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1620000" indent="-540000" algn="l" defTabSz="914400" rtl="0" eaLnBrk="1" latinLnBrk="0" hangingPunct="1">
        <a:lnSpc>
          <a:spcPct val="100000"/>
        </a:lnSpc>
        <a:spcBef>
          <a:spcPts val="500"/>
        </a:spcBef>
        <a:buFontTx/>
        <a:buBlip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</a:buBlip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160000" indent="-540000" algn="l" defTabSz="914400" rtl="0" eaLnBrk="1" latinLnBrk="0" hangingPunct="1">
        <a:lnSpc>
          <a:spcPct val="100000"/>
        </a:lnSpc>
        <a:spcBef>
          <a:spcPts val="500"/>
        </a:spcBef>
        <a:buFontTx/>
        <a:buBlip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</a:buBlip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2700000" indent="-540000" algn="l" defTabSz="914400" rtl="0" eaLnBrk="1" latinLnBrk="0" hangingPunct="1">
        <a:lnSpc>
          <a:spcPct val="100000"/>
        </a:lnSpc>
        <a:spcBef>
          <a:spcPts val="500"/>
        </a:spcBef>
        <a:buFontTx/>
        <a:buBlip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</a:buBlip>
        <a:defRPr sz="3000" kern="1200">
          <a:solidFill>
            <a:schemeClr val="tx1"/>
          </a:solidFill>
          <a:latin typeface="+mn-lt"/>
          <a:ea typeface="+mn-ea"/>
          <a:cs typeface="+mn-cs"/>
        </a:defRPr>
      </a:lvl5pPr>
      <a:lvl6pPr marL="3240000" indent="-540000" algn="l" defTabSz="914400" rtl="0" eaLnBrk="1" latinLnBrk="0" hangingPunct="1">
        <a:lnSpc>
          <a:spcPct val="100000"/>
        </a:lnSpc>
        <a:spcBef>
          <a:spcPts val="500"/>
        </a:spcBef>
        <a:buFontTx/>
        <a:buBlip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</a:buBlip>
        <a:defRPr sz="3000" kern="1200">
          <a:solidFill>
            <a:schemeClr val="tx1"/>
          </a:solidFill>
          <a:latin typeface="+mn-lt"/>
          <a:ea typeface="+mn-ea"/>
          <a:cs typeface="+mn-cs"/>
        </a:defRPr>
      </a:lvl6pPr>
      <a:lvl7pPr marL="3780000" indent="-540000" algn="l" defTabSz="914400" rtl="0" eaLnBrk="1" latinLnBrk="0" hangingPunct="1">
        <a:lnSpc>
          <a:spcPct val="100000"/>
        </a:lnSpc>
        <a:spcBef>
          <a:spcPts val="500"/>
        </a:spcBef>
        <a:buFontTx/>
        <a:buBlip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</a:buBlip>
        <a:defRPr sz="30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30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0"/>
        </a:spcBef>
        <a:spcAft>
          <a:spcPts val="1000"/>
        </a:spcAft>
        <a:buFont typeface="Arial" panose="020B0604020202020204" pitchFamily="34" charset="0"/>
        <a:buNone/>
        <a:defRPr sz="3000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aa-E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11.png"/><Relationship Id="rId4" Type="http://schemas.openxmlformats.org/officeDocument/2006/relationships/image" Target="../media/image10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g"/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31.jpe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33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microsoft.com/office/2007/relationships/media" Target="../media/media1.mp4"/><Relationship Id="rId7" Type="http://schemas.openxmlformats.org/officeDocument/2006/relationships/oleObject" Target="../embeddings/oleObject8.bin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33.xml"/><Relationship Id="rId4" Type="http://schemas.openxmlformats.org/officeDocument/2006/relationships/video" Target="../media/media1.mp4"/><Relationship Id="rId9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video" Target="https://www.youtube.com/embed/Da31tu3Y1kg?feature=oembed" TargetMode="Externa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3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1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36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11.png"/><Relationship Id="rId4" Type="http://schemas.openxmlformats.org/officeDocument/2006/relationships/image" Target="../media/image10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17.png"/><Relationship Id="rId5" Type="http://schemas.openxmlformats.org/officeDocument/2006/relationships/image" Target="../media/image16.jpe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19.jp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Relationship Id="rId9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28.png"/><Relationship Id="rId3" Type="http://schemas.openxmlformats.org/officeDocument/2006/relationships/slideLayout" Target="../slideLayouts/slideLayout33.xml"/><Relationship Id="rId7" Type="http://schemas.openxmlformats.org/officeDocument/2006/relationships/slide" Target="slide15.xml"/><Relationship Id="rId12" Type="http://schemas.openxmlformats.org/officeDocument/2006/relationships/image" Target="../media/image27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25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30.jp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2" descr="Maris">
            <a:extLst>
              <a:ext uri="{FF2B5EF4-FFF2-40B4-BE49-F238E27FC236}">
                <a16:creationId xmlns:a16="http://schemas.microsoft.com/office/drawing/2014/main" id="{501E904E-FD45-494D-B322-6CB3FDB20B2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BE" dirty="0"/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32EFE0F9-8509-8862-C8C1-EDB3590562F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40404"/>
            <a:ext cx="12191998" cy="8138808"/>
          </a:xfrm>
          <a:prstGeom prst="rect">
            <a:avLst/>
          </a:prstGeom>
        </p:spPr>
      </p:pic>
      <p:pic>
        <p:nvPicPr>
          <p:cNvPr id="9" name="Picture Placeholder 31">
            <a:extLst>
              <a:ext uri="{FF2B5EF4-FFF2-40B4-BE49-F238E27FC236}">
                <a16:creationId xmlns:a16="http://schemas.microsoft.com/office/drawing/2014/main" id="{6C98C08A-1877-6C08-99BB-0B670366D7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96" r="20096"/>
          <a:stretch/>
        </p:blipFill>
        <p:spPr>
          <a:xfrm rot="12361005">
            <a:off x="5748712" y="3501749"/>
            <a:ext cx="7137120" cy="6712500"/>
          </a:xfrm>
          <a:custGeom>
            <a:avLst/>
            <a:gdLst>
              <a:gd name="connsiteX0" fmla="*/ 961170 w 1892476"/>
              <a:gd name="connsiteY0" fmla="*/ 1060 h 1779884"/>
              <a:gd name="connsiteX1" fmla="*/ 1443811 w 1892476"/>
              <a:gd name="connsiteY1" fmla="*/ 242709 h 1779884"/>
              <a:gd name="connsiteX2" fmla="*/ 1754599 w 1892476"/>
              <a:gd name="connsiteY2" fmla="*/ 1512190 h 1779884"/>
              <a:gd name="connsiteX3" fmla="*/ 469299 w 1892476"/>
              <a:gd name="connsiteY3" fmla="*/ 1775565 h 1779884"/>
              <a:gd name="connsiteX4" fmla="*/ 495 w 1892476"/>
              <a:gd name="connsiteY4" fmla="*/ 1085516 h 1779884"/>
              <a:gd name="connsiteX5" fmla="*/ 490372 w 1892476"/>
              <a:gd name="connsiteY5" fmla="*/ 174233 h 1779884"/>
              <a:gd name="connsiteX6" fmla="*/ 961170 w 1892476"/>
              <a:gd name="connsiteY6" fmla="*/ 1060 h 177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92476" h="1779884">
                <a:moveTo>
                  <a:pt x="961170" y="1060"/>
                </a:moveTo>
                <a:cubicBezTo>
                  <a:pt x="1130390" y="10937"/>
                  <a:pt x="1301585" y="89951"/>
                  <a:pt x="1443811" y="242709"/>
                </a:cubicBezTo>
                <a:cubicBezTo>
                  <a:pt x="1728254" y="548232"/>
                  <a:pt x="2096989" y="1317295"/>
                  <a:pt x="1754599" y="1512190"/>
                </a:cubicBezTo>
                <a:cubicBezTo>
                  <a:pt x="1412191" y="1707082"/>
                  <a:pt x="790620" y="1801894"/>
                  <a:pt x="469299" y="1775565"/>
                </a:cubicBezTo>
                <a:cubicBezTo>
                  <a:pt x="147992" y="1749232"/>
                  <a:pt x="-10045" y="1401573"/>
                  <a:pt x="495" y="1085516"/>
                </a:cubicBezTo>
                <a:cubicBezTo>
                  <a:pt x="15489" y="635522"/>
                  <a:pt x="221731" y="421810"/>
                  <a:pt x="490372" y="174233"/>
                </a:cubicBezTo>
                <a:cubicBezTo>
                  <a:pt x="624702" y="50443"/>
                  <a:pt x="791949" y="-8817"/>
                  <a:pt x="961170" y="1060"/>
                </a:cubicBezTo>
                <a:close/>
              </a:path>
            </a:pathLst>
          </a:custGeom>
        </p:spPr>
      </p:pic>
      <p:pic>
        <p:nvPicPr>
          <p:cNvPr id="10" name="Afbeelding 9">
            <a:extLst>
              <a:ext uri="{FF2B5EF4-FFF2-40B4-BE49-F238E27FC236}">
                <a16:creationId xmlns:a16="http://schemas.microsoft.com/office/drawing/2014/main" id="{A9975A2A-E3C2-A69E-DEF9-0F8832BD6DE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2201" y="4765638"/>
            <a:ext cx="4087672" cy="1331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39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064B6FB-BC52-4267-86B1-1FAFCFC20B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064B6FB-BC52-4267-86B1-1FAFCFC20B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Tekstvak 64">
            <a:extLst>
              <a:ext uri="{FF2B5EF4-FFF2-40B4-BE49-F238E27FC236}">
                <a16:creationId xmlns:a16="http://schemas.microsoft.com/office/drawing/2014/main" id="{B461BD27-AEE7-9E09-EB39-83014A4F6359}"/>
              </a:ext>
            </a:extLst>
          </p:cNvPr>
          <p:cNvSpPr txBox="1"/>
          <p:nvPr/>
        </p:nvSpPr>
        <p:spPr>
          <a:xfrm>
            <a:off x="600075" y="559576"/>
            <a:ext cx="609600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dirty="0">
                <a:latin typeface="Museo Sans 900" panose="02000000000000000000" pitchFamily="50" charset="0"/>
              </a:rPr>
              <a:t>Site Genk</a:t>
            </a:r>
          </a:p>
          <a:p>
            <a:pPr marL="0" lvl="1" indent="0">
              <a:buNone/>
            </a:pPr>
            <a:r>
              <a:rPr lang="nl-BE" sz="2800" dirty="0">
                <a:solidFill>
                  <a:srgbClr val="1E377D"/>
                </a:solidFill>
                <a:latin typeface="Museo Sans 100" panose="02000000000000000000" pitchFamily="50" charset="0"/>
              </a:rPr>
              <a:t>Streefbeeld 2023</a:t>
            </a:r>
            <a:endParaRPr lang="en-US" sz="2800" b="0" dirty="0">
              <a:solidFill>
                <a:srgbClr val="1E377D"/>
              </a:solidFill>
              <a:latin typeface="Museo Sans 100" panose="02000000000000000000" pitchFamily="50" charset="0"/>
            </a:endParaRPr>
          </a:p>
        </p:txBody>
      </p:sp>
      <p:sp>
        <p:nvSpPr>
          <p:cNvPr id="67" name="Rechthoek 66">
            <a:extLst>
              <a:ext uri="{FF2B5EF4-FFF2-40B4-BE49-F238E27FC236}">
                <a16:creationId xmlns:a16="http://schemas.microsoft.com/office/drawing/2014/main" id="{3B03DE0B-EB7E-4D3F-842E-4833B09A1763}"/>
              </a:ext>
            </a:extLst>
          </p:cNvPr>
          <p:cNvSpPr/>
          <p:nvPr/>
        </p:nvSpPr>
        <p:spPr>
          <a:xfrm flipV="1">
            <a:off x="0" y="863189"/>
            <a:ext cx="511277" cy="45719"/>
          </a:xfrm>
          <a:prstGeom prst="rect">
            <a:avLst/>
          </a:prstGeom>
          <a:solidFill>
            <a:srgbClr val="FAA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73C33CA9-59C3-EA1D-BB5E-FB13A49EA1C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638" y="1815291"/>
            <a:ext cx="5737632" cy="3227418"/>
          </a:xfrm>
          <a:prstGeom prst="rect">
            <a:avLst/>
          </a:prstGeom>
        </p:spPr>
      </p:pic>
      <p:pic>
        <p:nvPicPr>
          <p:cNvPr id="3" name="Afbeelding 2">
            <a:extLst>
              <a:ext uri="{FF2B5EF4-FFF2-40B4-BE49-F238E27FC236}">
                <a16:creationId xmlns:a16="http://schemas.microsoft.com/office/drawing/2014/main" id="{631B7D39-7EFB-AA87-3CF9-C64C61B2951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8732" y="1815291"/>
            <a:ext cx="5737632" cy="3227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7007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/>
      <p:bldP spid="6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064B6FB-BC52-4267-86B1-1FAFCFC20B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064B6FB-BC52-4267-86B1-1FAFCFC20B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Tekstvak 64">
            <a:extLst>
              <a:ext uri="{FF2B5EF4-FFF2-40B4-BE49-F238E27FC236}">
                <a16:creationId xmlns:a16="http://schemas.microsoft.com/office/drawing/2014/main" id="{B461BD27-AEE7-9E09-EB39-83014A4F6359}"/>
              </a:ext>
            </a:extLst>
          </p:cNvPr>
          <p:cNvSpPr txBox="1"/>
          <p:nvPr/>
        </p:nvSpPr>
        <p:spPr>
          <a:xfrm>
            <a:off x="600075" y="559576"/>
            <a:ext cx="609600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dirty="0">
                <a:latin typeface="Museo Sans 900" panose="02000000000000000000" pitchFamily="50" charset="0"/>
              </a:rPr>
              <a:t>Site Genk</a:t>
            </a:r>
          </a:p>
          <a:p>
            <a:pPr marL="0" lvl="1" indent="0">
              <a:buNone/>
            </a:pPr>
            <a:r>
              <a:rPr lang="nl-BE" sz="2800" dirty="0">
                <a:solidFill>
                  <a:srgbClr val="1E377D"/>
                </a:solidFill>
                <a:latin typeface="Museo Sans 100" panose="02000000000000000000" pitchFamily="50" charset="0"/>
              </a:rPr>
              <a:t>Streefbeeld 2023</a:t>
            </a:r>
            <a:endParaRPr lang="en-US" sz="2800" b="0" dirty="0">
              <a:solidFill>
                <a:srgbClr val="1E377D"/>
              </a:solidFill>
              <a:latin typeface="Museo Sans 100" panose="02000000000000000000" pitchFamily="50" charset="0"/>
            </a:endParaRPr>
          </a:p>
        </p:txBody>
      </p:sp>
      <p:sp>
        <p:nvSpPr>
          <p:cNvPr id="67" name="Rechthoek 66">
            <a:extLst>
              <a:ext uri="{FF2B5EF4-FFF2-40B4-BE49-F238E27FC236}">
                <a16:creationId xmlns:a16="http://schemas.microsoft.com/office/drawing/2014/main" id="{3B03DE0B-EB7E-4D3F-842E-4833B09A1763}"/>
              </a:ext>
            </a:extLst>
          </p:cNvPr>
          <p:cNvSpPr/>
          <p:nvPr/>
        </p:nvSpPr>
        <p:spPr>
          <a:xfrm flipV="1">
            <a:off x="0" y="863189"/>
            <a:ext cx="511277" cy="45719"/>
          </a:xfrm>
          <a:prstGeom prst="rect">
            <a:avLst/>
          </a:prstGeom>
          <a:solidFill>
            <a:srgbClr val="FAA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E100E324-6616-89D4-998F-31C0B67EC65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8975"/>
          <a:stretch/>
        </p:blipFill>
        <p:spPr>
          <a:xfrm>
            <a:off x="5132319" y="0"/>
            <a:ext cx="7059681" cy="6791664"/>
          </a:xfrm>
          <a:prstGeom prst="rect">
            <a:avLst/>
          </a:prstGeom>
        </p:spPr>
      </p:pic>
      <p:sp>
        <p:nvSpPr>
          <p:cNvPr id="8" name="Tekstvak 7">
            <a:extLst>
              <a:ext uri="{FF2B5EF4-FFF2-40B4-BE49-F238E27FC236}">
                <a16:creationId xmlns:a16="http://schemas.microsoft.com/office/drawing/2014/main" id="{C7A5A8DE-DE79-33B0-965B-14567DA650BC}"/>
              </a:ext>
            </a:extLst>
          </p:cNvPr>
          <p:cNvSpPr txBox="1"/>
          <p:nvPr/>
        </p:nvSpPr>
        <p:spPr>
          <a:xfrm>
            <a:off x="1143778" y="3352828"/>
            <a:ext cx="19172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nl-BE" dirty="0">
                <a:latin typeface="Museo Sans 100" panose="02000000000000000000" charset="0"/>
              </a:rPr>
              <a:t>Konings</a:t>
            </a:r>
          </a:p>
        </p:txBody>
      </p:sp>
      <p:cxnSp>
        <p:nvCxnSpPr>
          <p:cNvPr id="9" name="Rechte verbindingslijn met pijl 8">
            <a:extLst>
              <a:ext uri="{FF2B5EF4-FFF2-40B4-BE49-F238E27FC236}">
                <a16:creationId xmlns:a16="http://schemas.microsoft.com/office/drawing/2014/main" id="{101FB055-5423-578C-9FFE-953132BCFAA2}"/>
              </a:ext>
            </a:extLst>
          </p:cNvPr>
          <p:cNvCxnSpPr>
            <a:cxnSpLocks/>
          </p:cNvCxnSpPr>
          <p:nvPr/>
        </p:nvCxnSpPr>
        <p:spPr>
          <a:xfrm>
            <a:off x="3061032" y="3537494"/>
            <a:ext cx="4405897" cy="0"/>
          </a:xfrm>
          <a:prstGeom prst="straightConnector1">
            <a:avLst/>
          </a:prstGeom>
          <a:ln w="76200">
            <a:solidFill>
              <a:srgbClr val="FAAA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8627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/>
      <p:bldP spid="67" grpId="0" animBg="1"/>
      <p:bldP spid="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064B6FB-BC52-4267-86B1-1FAFCFC20B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" name="think-cell Slide" r:id="rId7" imgW="415" imgH="416" progId="TCLayout.ActiveDocument.1">
                  <p:embed/>
                </p:oleObj>
              </mc:Choice>
              <mc:Fallback>
                <p:oleObj name="think-cell Slide" r:id="rId7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064B6FB-BC52-4267-86B1-1FAFCFC20B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Tekstvak 64">
            <a:extLst>
              <a:ext uri="{FF2B5EF4-FFF2-40B4-BE49-F238E27FC236}">
                <a16:creationId xmlns:a16="http://schemas.microsoft.com/office/drawing/2014/main" id="{B461BD27-AEE7-9E09-EB39-83014A4F6359}"/>
              </a:ext>
            </a:extLst>
          </p:cNvPr>
          <p:cNvSpPr txBox="1"/>
          <p:nvPr/>
        </p:nvSpPr>
        <p:spPr>
          <a:xfrm>
            <a:off x="600075" y="559576"/>
            <a:ext cx="609600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dirty="0">
                <a:latin typeface="Museo Sans 900" panose="02000000000000000000" pitchFamily="50" charset="0"/>
              </a:rPr>
              <a:t>Site Genk</a:t>
            </a:r>
          </a:p>
          <a:p>
            <a:pPr marL="0" lvl="1" indent="0">
              <a:buNone/>
            </a:pPr>
            <a:r>
              <a:rPr lang="nl-BE" sz="2800" dirty="0">
                <a:solidFill>
                  <a:srgbClr val="1E377D"/>
                </a:solidFill>
                <a:latin typeface="Museo Sans 100" panose="02000000000000000000" pitchFamily="50" charset="0"/>
              </a:rPr>
              <a:t>Video blikjeslijn</a:t>
            </a:r>
            <a:endParaRPr lang="en-US" sz="2800" b="0" dirty="0">
              <a:solidFill>
                <a:srgbClr val="1E377D"/>
              </a:solidFill>
              <a:latin typeface="Museo Sans 100" panose="02000000000000000000" pitchFamily="50" charset="0"/>
            </a:endParaRPr>
          </a:p>
        </p:txBody>
      </p:sp>
      <p:sp>
        <p:nvSpPr>
          <p:cNvPr id="67" name="Rechthoek 66">
            <a:extLst>
              <a:ext uri="{FF2B5EF4-FFF2-40B4-BE49-F238E27FC236}">
                <a16:creationId xmlns:a16="http://schemas.microsoft.com/office/drawing/2014/main" id="{3B03DE0B-EB7E-4D3F-842E-4833B09A1763}"/>
              </a:ext>
            </a:extLst>
          </p:cNvPr>
          <p:cNvSpPr/>
          <p:nvPr/>
        </p:nvSpPr>
        <p:spPr>
          <a:xfrm flipV="1">
            <a:off x="0" y="863189"/>
            <a:ext cx="511277" cy="45719"/>
          </a:xfrm>
          <a:prstGeom prst="rect">
            <a:avLst/>
          </a:prstGeom>
          <a:solidFill>
            <a:srgbClr val="FAA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2" name="A canning line for sensitive beverages at Konings Drinks">
            <a:hlinkClick r:id="" action="ppaction://media"/>
            <a:extLst>
              <a:ext uri="{FF2B5EF4-FFF2-40B4-BE49-F238E27FC236}">
                <a16:creationId xmlns:a16="http://schemas.microsoft.com/office/drawing/2014/main" id="{659B4420-81F7-E338-5088-01525F55D7E8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739223" y="1636794"/>
            <a:ext cx="8640418" cy="4860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5788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4" dur="228809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5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16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7" fill="hold">
                      <p:stCondLst>
                        <p:cond delay="0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0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  <p:bldLst>
      <p:bldP spid="65" grpId="0"/>
      <p:bldP spid="67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064B6FB-BC52-4267-86B1-1FAFCFC20B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064B6FB-BC52-4267-86B1-1FAFCFC20B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Tekstvak 64">
            <a:extLst>
              <a:ext uri="{FF2B5EF4-FFF2-40B4-BE49-F238E27FC236}">
                <a16:creationId xmlns:a16="http://schemas.microsoft.com/office/drawing/2014/main" id="{B461BD27-AEE7-9E09-EB39-83014A4F6359}"/>
              </a:ext>
            </a:extLst>
          </p:cNvPr>
          <p:cNvSpPr txBox="1"/>
          <p:nvPr/>
        </p:nvSpPr>
        <p:spPr>
          <a:xfrm>
            <a:off x="600075" y="559576"/>
            <a:ext cx="609600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dirty="0">
                <a:latin typeface="Museo Sans 900" panose="02000000000000000000" pitchFamily="50" charset="0"/>
              </a:rPr>
              <a:t>Site Genk</a:t>
            </a:r>
          </a:p>
          <a:p>
            <a:pPr marL="0" lvl="1" indent="0">
              <a:buNone/>
            </a:pPr>
            <a:r>
              <a:rPr lang="nl-BE" sz="2800" dirty="0">
                <a:solidFill>
                  <a:srgbClr val="1E377D"/>
                </a:solidFill>
                <a:latin typeface="Museo Sans 100" panose="02000000000000000000" pitchFamily="50" charset="0"/>
              </a:rPr>
              <a:t>Video blikjeslijn</a:t>
            </a:r>
            <a:endParaRPr lang="en-US" sz="2800" b="0" dirty="0">
              <a:solidFill>
                <a:srgbClr val="1E377D"/>
              </a:solidFill>
              <a:latin typeface="Museo Sans 100" panose="02000000000000000000" pitchFamily="50" charset="0"/>
            </a:endParaRPr>
          </a:p>
        </p:txBody>
      </p:sp>
      <p:sp>
        <p:nvSpPr>
          <p:cNvPr id="67" name="Rechthoek 66">
            <a:extLst>
              <a:ext uri="{FF2B5EF4-FFF2-40B4-BE49-F238E27FC236}">
                <a16:creationId xmlns:a16="http://schemas.microsoft.com/office/drawing/2014/main" id="{3B03DE0B-EB7E-4D3F-842E-4833B09A1763}"/>
              </a:ext>
            </a:extLst>
          </p:cNvPr>
          <p:cNvSpPr/>
          <p:nvPr/>
        </p:nvSpPr>
        <p:spPr>
          <a:xfrm flipV="1">
            <a:off x="0" y="863189"/>
            <a:ext cx="511277" cy="45719"/>
          </a:xfrm>
          <a:prstGeom prst="rect">
            <a:avLst/>
          </a:prstGeom>
          <a:solidFill>
            <a:srgbClr val="FAA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3" name="Onlinemedia 2" title="A canning line for sensitive beverages at Konings Drinks">
            <a:hlinkClick r:id="" action="ppaction://media"/>
            <a:extLst>
              <a:ext uri="{FF2B5EF4-FFF2-40B4-BE49-F238E27FC236}">
                <a16:creationId xmlns:a16="http://schemas.microsoft.com/office/drawing/2014/main" id="{7EBE4B89-DFEF-4952-32FB-A2A228BC7B65}"/>
              </a:ext>
            </a:extLst>
          </p:cNvPr>
          <p:cNvPicPr>
            <a:picLocks noRot="1" noChangeAspect="1"/>
          </p:cNvPicPr>
          <p:nvPr>
            <a:videoFile r:link="rId3"/>
          </p:nvPr>
        </p:nvPicPr>
        <p:blipFill>
          <a:blip r:embed="rId8"/>
          <a:stretch>
            <a:fillRect/>
          </a:stretch>
        </p:blipFill>
        <p:spPr>
          <a:xfrm>
            <a:off x="689936" y="1807682"/>
            <a:ext cx="8602920" cy="486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420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5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6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17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8" fill="hold">
                      <p:stCondLst>
                        <p:cond delay="0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1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  <p:bldLst>
      <p:bldP spid="65" grpId="0"/>
      <p:bldP spid="6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064B6FB-BC52-4267-86B1-1FAFCFC20B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064B6FB-BC52-4267-86B1-1FAFCFC20B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2" name="Afbeelding 51">
            <a:extLst>
              <a:ext uri="{FF2B5EF4-FFF2-40B4-BE49-F238E27FC236}">
                <a16:creationId xmlns:a16="http://schemas.microsoft.com/office/drawing/2014/main" id="{6F0E1A45-A9F1-E418-7252-81B192C6917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2597" y="6152322"/>
            <a:ext cx="465676" cy="480312"/>
          </a:xfrm>
          <a:prstGeom prst="rect">
            <a:avLst/>
          </a:prstGeom>
        </p:spPr>
      </p:pic>
      <p:sp>
        <p:nvSpPr>
          <p:cNvPr id="65" name="Tekstvak 64">
            <a:extLst>
              <a:ext uri="{FF2B5EF4-FFF2-40B4-BE49-F238E27FC236}">
                <a16:creationId xmlns:a16="http://schemas.microsoft.com/office/drawing/2014/main" id="{B461BD27-AEE7-9E09-EB39-83014A4F6359}"/>
              </a:ext>
            </a:extLst>
          </p:cNvPr>
          <p:cNvSpPr txBox="1"/>
          <p:nvPr/>
        </p:nvSpPr>
        <p:spPr>
          <a:xfrm>
            <a:off x="600075" y="579448"/>
            <a:ext cx="609600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dirty="0">
                <a:latin typeface="Museo Sans 900" panose="02000000000000000000" pitchFamily="50" charset="0"/>
              </a:rPr>
              <a:t>Site Genk</a:t>
            </a:r>
          </a:p>
          <a:p>
            <a:pPr marL="0" lvl="1" indent="0">
              <a:buNone/>
            </a:pPr>
            <a:r>
              <a:rPr lang="nl-BE" sz="2800" dirty="0">
                <a:solidFill>
                  <a:srgbClr val="1E377D"/>
                </a:solidFill>
                <a:latin typeface="Museo Sans 100" panose="02000000000000000000" pitchFamily="50" charset="0"/>
              </a:rPr>
              <a:t>Impact</a:t>
            </a:r>
            <a:endParaRPr lang="en-US" sz="2800" b="0" dirty="0">
              <a:solidFill>
                <a:srgbClr val="1E377D"/>
              </a:solidFill>
              <a:latin typeface="Museo Sans 100" panose="02000000000000000000" pitchFamily="50" charset="0"/>
            </a:endParaRPr>
          </a:p>
        </p:txBody>
      </p:sp>
      <p:sp>
        <p:nvSpPr>
          <p:cNvPr id="67" name="Rechthoek 66">
            <a:extLst>
              <a:ext uri="{FF2B5EF4-FFF2-40B4-BE49-F238E27FC236}">
                <a16:creationId xmlns:a16="http://schemas.microsoft.com/office/drawing/2014/main" id="{3B03DE0B-EB7E-4D3F-842E-4833B09A1763}"/>
              </a:ext>
            </a:extLst>
          </p:cNvPr>
          <p:cNvSpPr/>
          <p:nvPr/>
        </p:nvSpPr>
        <p:spPr>
          <a:xfrm flipV="1">
            <a:off x="0" y="883061"/>
            <a:ext cx="511277" cy="45719"/>
          </a:xfrm>
          <a:prstGeom prst="rect">
            <a:avLst/>
          </a:prstGeom>
          <a:solidFill>
            <a:srgbClr val="FAA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0FBBDF2C-F6AC-3D67-9C7D-54CC0EEF7AE0}"/>
              </a:ext>
            </a:extLst>
          </p:cNvPr>
          <p:cNvSpPr txBox="1"/>
          <p:nvPr/>
        </p:nvSpPr>
        <p:spPr>
          <a:xfrm>
            <a:off x="600075" y="1940958"/>
            <a:ext cx="7321412" cy="29546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1200"/>
              </a:spcAft>
              <a:buBlip>
                <a:blip r:embed="rId8"/>
              </a:buBlip>
            </a:pPr>
            <a:r>
              <a:rPr lang="nl-BE" dirty="0">
                <a:latin typeface="Museo Sans 100" panose="02000000000000000000" pitchFamily="50" charset="0"/>
              </a:rPr>
              <a:t>Investering van 40 miljoen Euro</a:t>
            </a:r>
          </a:p>
          <a:p>
            <a:pPr marL="285750" indent="-285750">
              <a:spcAft>
                <a:spcPts val="1200"/>
              </a:spcAft>
              <a:buBlip>
                <a:blip r:embed="rId8"/>
              </a:buBlip>
            </a:pPr>
            <a:r>
              <a:rPr lang="nl-BE" dirty="0">
                <a:latin typeface="Museo Sans 100" panose="02000000000000000000" pitchFamily="50" charset="0"/>
              </a:rPr>
              <a:t>Doel = sneller, veiliger en efficiënter te produceren</a:t>
            </a:r>
          </a:p>
          <a:p>
            <a:pPr marL="285750" indent="-285750">
              <a:spcAft>
                <a:spcPts val="1200"/>
              </a:spcAft>
              <a:buBlip>
                <a:blip r:embed="rId8"/>
              </a:buBlip>
            </a:pPr>
            <a:r>
              <a:rPr lang="nl-BE" dirty="0">
                <a:latin typeface="Museo Sans 100" panose="02000000000000000000" pitchFamily="50" charset="0"/>
              </a:rPr>
              <a:t>Productielijn: </a:t>
            </a:r>
          </a:p>
          <a:p>
            <a:pPr marL="742950" lvl="1" indent="-285750">
              <a:spcAft>
                <a:spcPts val="1200"/>
              </a:spcAft>
              <a:buBlip>
                <a:blip r:embed="rId8"/>
              </a:buBlip>
            </a:pPr>
            <a:r>
              <a:rPr lang="nl-BE" dirty="0">
                <a:latin typeface="Museo Sans 100" panose="02000000000000000000" pitchFamily="50" charset="0"/>
              </a:rPr>
              <a:t>1 hypermoderne productielijn voor blikjes</a:t>
            </a:r>
          </a:p>
          <a:p>
            <a:pPr marL="742950" lvl="1" indent="-285750">
              <a:spcAft>
                <a:spcPts val="1200"/>
              </a:spcAft>
              <a:buBlip>
                <a:blip r:embed="rId8"/>
              </a:buBlip>
            </a:pPr>
            <a:r>
              <a:rPr lang="nl-BE" dirty="0">
                <a:latin typeface="Museo Sans 100" panose="02000000000000000000" pitchFamily="50" charset="0"/>
              </a:rPr>
              <a:t>90.000 blikken per uur</a:t>
            </a:r>
          </a:p>
          <a:p>
            <a:pPr marL="285750" indent="-285750">
              <a:spcAft>
                <a:spcPts val="1200"/>
              </a:spcAft>
              <a:buBlip>
                <a:blip r:embed="rId8"/>
              </a:buBlip>
            </a:pPr>
            <a:r>
              <a:rPr lang="nl-BE" dirty="0">
                <a:latin typeface="Museo Sans 100" panose="02000000000000000000" pitchFamily="50" charset="0"/>
              </a:rPr>
              <a:t>Boost Limburgse werkgelegenheid: 75 extra jobs in de eerste fase</a:t>
            </a:r>
          </a:p>
          <a:p>
            <a:pPr>
              <a:spcAft>
                <a:spcPts val="1200"/>
              </a:spcAft>
            </a:pPr>
            <a:endParaRPr lang="nl-BE" dirty="0">
              <a:latin typeface="Museo Sans 100" panose="02000000000000000000" pitchFamily="50" charset="0"/>
            </a:endParaRPr>
          </a:p>
        </p:txBody>
      </p:sp>
      <p:pic>
        <p:nvPicPr>
          <p:cNvPr id="8" name="Tijdelijke aanduiding voor afbeelding 24">
            <a:extLst>
              <a:ext uri="{FF2B5EF4-FFF2-40B4-BE49-F238E27FC236}">
                <a16:creationId xmlns:a16="http://schemas.microsoft.com/office/drawing/2014/main" id="{743AF29F-57AF-83C5-8AFA-ECD573BC09A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25" r="14525"/>
          <a:stretch/>
        </p:blipFill>
        <p:spPr>
          <a:xfrm>
            <a:off x="8219662" y="-873493"/>
            <a:ext cx="5002480" cy="4704860"/>
          </a:xfrm>
          <a:custGeom>
            <a:avLst/>
            <a:gdLst>
              <a:gd name="connsiteX0" fmla="*/ 961170 w 1892476"/>
              <a:gd name="connsiteY0" fmla="*/ 1060 h 1779884"/>
              <a:gd name="connsiteX1" fmla="*/ 1443811 w 1892476"/>
              <a:gd name="connsiteY1" fmla="*/ 242709 h 1779884"/>
              <a:gd name="connsiteX2" fmla="*/ 1754599 w 1892476"/>
              <a:gd name="connsiteY2" fmla="*/ 1512190 h 1779884"/>
              <a:gd name="connsiteX3" fmla="*/ 469299 w 1892476"/>
              <a:gd name="connsiteY3" fmla="*/ 1775565 h 1779884"/>
              <a:gd name="connsiteX4" fmla="*/ 495 w 1892476"/>
              <a:gd name="connsiteY4" fmla="*/ 1085516 h 1779884"/>
              <a:gd name="connsiteX5" fmla="*/ 490372 w 1892476"/>
              <a:gd name="connsiteY5" fmla="*/ 174233 h 1779884"/>
              <a:gd name="connsiteX6" fmla="*/ 961170 w 1892476"/>
              <a:gd name="connsiteY6" fmla="*/ 1060 h 177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92476" h="1779884">
                <a:moveTo>
                  <a:pt x="961170" y="1060"/>
                </a:moveTo>
                <a:cubicBezTo>
                  <a:pt x="1130390" y="10937"/>
                  <a:pt x="1301585" y="89951"/>
                  <a:pt x="1443811" y="242709"/>
                </a:cubicBezTo>
                <a:cubicBezTo>
                  <a:pt x="1728254" y="548232"/>
                  <a:pt x="2096989" y="1317295"/>
                  <a:pt x="1754599" y="1512190"/>
                </a:cubicBezTo>
                <a:cubicBezTo>
                  <a:pt x="1412191" y="1707082"/>
                  <a:pt x="790620" y="1801894"/>
                  <a:pt x="469299" y="1775565"/>
                </a:cubicBezTo>
                <a:cubicBezTo>
                  <a:pt x="147992" y="1749232"/>
                  <a:pt x="-10045" y="1401573"/>
                  <a:pt x="495" y="1085516"/>
                </a:cubicBezTo>
                <a:cubicBezTo>
                  <a:pt x="15489" y="635522"/>
                  <a:pt x="221731" y="421810"/>
                  <a:pt x="490372" y="174233"/>
                </a:cubicBezTo>
                <a:cubicBezTo>
                  <a:pt x="624702" y="50443"/>
                  <a:pt x="791949" y="-8817"/>
                  <a:pt x="961170" y="106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479059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/>
      <p:bldP spid="67" grpId="0" animBg="1"/>
      <p:bldP spid="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2" descr="Maris">
            <a:extLst>
              <a:ext uri="{FF2B5EF4-FFF2-40B4-BE49-F238E27FC236}">
                <a16:creationId xmlns:a16="http://schemas.microsoft.com/office/drawing/2014/main" id="{501E904E-FD45-494D-B322-6CB3FDB20B2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BE" dirty="0"/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32EFE0F9-8509-8862-C8C1-EDB3590562F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40404"/>
            <a:ext cx="12191998" cy="8138808"/>
          </a:xfrm>
          <a:prstGeom prst="rect">
            <a:avLst/>
          </a:prstGeom>
        </p:spPr>
      </p:pic>
      <p:pic>
        <p:nvPicPr>
          <p:cNvPr id="9" name="Picture Placeholder 31">
            <a:extLst>
              <a:ext uri="{FF2B5EF4-FFF2-40B4-BE49-F238E27FC236}">
                <a16:creationId xmlns:a16="http://schemas.microsoft.com/office/drawing/2014/main" id="{6C98C08A-1877-6C08-99BB-0B670366D7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96" r="20096"/>
          <a:stretch/>
        </p:blipFill>
        <p:spPr>
          <a:xfrm rot="12361005">
            <a:off x="5748712" y="3501749"/>
            <a:ext cx="7137120" cy="6712500"/>
          </a:xfrm>
          <a:custGeom>
            <a:avLst/>
            <a:gdLst>
              <a:gd name="connsiteX0" fmla="*/ 961170 w 1892476"/>
              <a:gd name="connsiteY0" fmla="*/ 1060 h 1779884"/>
              <a:gd name="connsiteX1" fmla="*/ 1443811 w 1892476"/>
              <a:gd name="connsiteY1" fmla="*/ 242709 h 1779884"/>
              <a:gd name="connsiteX2" fmla="*/ 1754599 w 1892476"/>
              <a:gd name="connsiteY2" fmla="*/ 1512190 h 1779884"/>
              <a:gd name="connsiteX3" fmla="*/ 469299 w 1892476"/>
              <a:gd name="connsiteY3" fmla="*/ 1775565 h 1779884"/>
              <a:gd name="connsiteX4" fmla="*/ 495 w 1892476"/>
              <a:gd name="connsiteY4" fmla="*/ 1085516 h 1779884"/>
              <a:gd name="connsiteX5" fmla="*/ 490372 w 1892476"/>
              <a:gd name="connsiteY5" fmla="*/ 174233 h 1779884"/>
              <a:gd name="connsiteX6" fmla="*/ 961170 w 1892476"/>
              <a:gd name="connsiteY6" fmla="*/ 1060 h 177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92476" h="1779884">
                <a:moveTo>
                  <a:pt x="961170" y="1060"/>
                </a:moveTo>
                <a:cubicBezTo>
                  <a:pt x="1130390" y="10937"/>
                  <a:pt x="1301585" y="89951"/>
                  <a:pt x="1443811" y="242709"/>
                </a:cubicBezTo>
                <a:cubicBezTo>
                  <a:pt x="1728254" y="548232"/>
                  <a:pt x="2096989" y="1317295"/>
                  <a:pt x="1754599" y="1512190"/>
                </a:cubicBezTo>
                <a:cubicBezTo>
                  <a:pt x="1412191" y="1707082"/>
                  <a:pt x="790620" y="1801894"/>
                  <a:pt x="469299" y="1775565"/>
                </a:cubicBezTo>
                <a:cubicBezTo>
                  <a:pt x="147992" y="1749232"/>
                  <a:pt x="-10045" y="1401573"/>
                  <a:pt x="495" y="1085516"/>
                </a:cubicBezTo>
                <a:cubicBezTo>
                  <a:pt x="15489" y="635522"/>
                  <a:pt x="221731" y="421810"/>
                  <a:pt x="490372" y="174233"/>
                </a:cubicBezTo>
                <a:cubicBezTo>
                  <a:pt x="624702" y="50443"/>
                  <a:pt x="791949" y="-8817"/>
                  <a:pt x="961170" y="1060"/>
                </a:cubicBezTo>
                <a:close/>
              </a:path>
            </a:pathLst>
          </a:custGeom>
        </p:spPr>
      </p:pic>
      <p:pic>
        <p:nvPicPr>
          <p:cNvPr id="10" name="Afbeelding 9">
            <a:extLst>
              <a:ext uri="{FF2B5EF4-FFF2-40B4-BE49-F238E27FC236}">
                <a16:creationId xmlns:a16="http://schemas.microsoft.com/office/drawing/2014/main" id="{A9975A2A-E3C2-A69E-DEF9-0F8832BD6DE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2201" y="4765638"/>
            <a:ext cx="4087672" cy="1331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939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Tijdelijke aanduiding voor afbeelding 15">
            <a:extLst>
              <a:ext uri="{FF2B5EF4-FFF2-40B4-BE49-F238E27FC236}">
                <a16:creationId xmlns:a16="http://schemas.microsoft.com/office/drawing/2014/main" id="{F1A6ADC7-EB3C-3263-4321-A85071DA812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" r="44019"/>
          <a:stretch/>
        </p:blipFill>
        <p:spPr>
          <a:xfrm>
            <a:off x="6432002" y="-1"/>
            <a:ext cx="5760000" cy="6937491"/>
          </a:xfrm>
          <a:custGeom>
            <a:avLst/>
            <a:gdLst>
              <a:gd name="connsiteX0" fmla="*/ 1898558 w 5694001"/>
              <a:gd name="connsiteY0" fmla="*/ 0 h 6858000"/>
              <a:gd name="connsiteX1" fmla="*/ 5694001 w 5694001"/>
              <a:gd name="connsiteY1" fmla="*/ 0 h 6858000"/>
              <a:gd name="connsiteX2" fmla="*/ 5694001 w 5694001"/>
              <a:gd name="connsiteY2" fmla="*/ 6858000 h 6858000"/>
              <a:gd name="connsiteX3" fmla="*/ 1063805 w 5694001"/>
              <a:gd name="connsiteY3" fmla="*/ 6858000 h 6858000"/>
              <a:gd name="connsiteX4" fmla="*/ 912531 w 5694001"/>
              <a:gd name="connsiteY4" fmla="*/ 6471190 h 6858000"/>
              <a:gd name="connsiteX5" fmla="*/ 20316 w 5694001"/>
              <a:gd name="connsiteY5" fmla="*/ 3138125 h 6858000"/>
              <a:gd name="connsiteX6" fmla="*/ 1606182 w 5694001"/>
              <a:gd name="connsiteY6" fmla="*/ 1755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94001" h="6858000">
                <a:moveTo>
                  <a:pt x="1898558" y="0"/>
                </a:moveTo>
                <a:lnTo>
                  <a:pt x="5694001" y="0"/>
                </a:lnTo>
                <a:lnTo>
                  <a:pt x="5694001" y="6858000"/>
                </a:lnTo>
                <a:lnTo>
                  <a:pt x="1063805" y="6858000"/>
                </a:lnTo>
                <a:lnTo>
                  <a:pt x="912531" y="6471190"/>
                </a:lnTo>
                <a:cubicBezTo>
                  <a:pt x="447350" y="5232479"/>
                  <a:pt x="125953" y="4022155"/>
                  <a:pt x="20316" y="3138125"/>
                </a:cubicBezTo>
                <a:cubicBezTo>
                  <a:pt x="-130585" y="1875226"/>
                  <a:pt x="575149" y="848915"/>
                  <a:pt x="1606182" y="175583"/>
                </a:cubicBezTo>
                <a:close/>
              </a:path>
            </a:pathLst>
          </a:cu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864354-D455-4369-A2DA-73DF8AB75F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7200" y="649868"/>
            <a:ext cx="5458800" cy="803470"/>
          </a:xfrm>
        </p:spPr>
        <p:txBody>
          <a:bodyPr/>
          <a:lstStyle/>
          <a:p>
            <a:r>
              <a:rPr lang="aa-ET" sz="3600" dirty="0">
                <a:solidFill>
                  <a:srgbClr val="1E377D"/>
                </a:solidFill>
                <a:latin typeface="Museo Sans 100" panose="02000000000000000000" pitchFamily="50" charset="0"/>
              </a:rPr>
              <a:t>Wat do</a:t>
            </a:r>
            <a:r>
              <a:rPr lang="nl-BE" sz="3600" dirty="0">
                <a:solidFill>
                  <a:srgbClr val="1E377D"/>
                </a:solidFill>
                <a:latin typeface="Museo Sans 100" panose="02000000000000000000" pitchFamily="50" charset="0"/>
              </a:rPr>
              <a:t>en we precies</a:t>
            </a:r>
            <a:endParaRPr lang="aa-ET" sz="3600" dirty="0">
              <a:solidFill>
                <a:srgbClr val="1E377D"/>
              </a:solidFill>
              <a:latin typeface="Museo Sans 100" panose="02000000000000000000" pitchFamily="50" charset="0"/>
            </a:endParaRPr>
          </a:p>
          <a:p>
            <a:r>
              <a:rPr lang="nl-BE" sz="3600" b="1" dirty="0">
                <a:solidFill>
                  <a:srgbClr val="1E377D"/>
                </a:solidFill>
                <a:latin typeface="Museo Sans 900" panose="02000000000000000000" pitchFamily="50" charset="0"/>
              </a:rPr>
              <a:t>bij</a:t>
            </a:r>
            <a:r>
              <a:rPr lang="aa-ET" sz="3600" b="1" dirty="0">
                <a:solidFill>
                  <a:srgbClr val="1E377D"/>
                </a:solidFill>
                <a:latin typeface="Museo Sans 900" panose="02000000000000000000" pitchFamily="50" charset="0"/>
              </a:rPr>
              <a:t> Konings?</a:t>
            </a:r>
            <a:endParaRPr lang="en-GB" sz="3600" b="1" dirty="0">
              <a:solidFill>
                <a:srgbClr val="1E377D"/>
              </a:solidFill>
              <a:latin typeface="Museo Sans 900" panose="02000000000000000000" pitchFamily="50" charset="0"/>
            </a:endParaRPr>
          </a:p>
        </p:txBody>
      </p:sp>
      <p:sp>
        <p:nvSpPr>
          <p:cNvPr id="19" name="Rechthoek 18">
            <a:extLst>
              <a:ext uri="{FF2B5EF4-FFF2-40B4-BE49-F238E27FC236}">
                <a16:creationId xmlns:a16="http://schemas.microsoft.com/office/drawing/2014/main" id="{F9B6BB62-EDF6-0C45-FA9F-F828F96A237E}"/>
              </a:ext>
            </a:extLst>
          </p:cNvPr>
          <p:cNvSpPr/>
          <p:nvPr/>
        </p:nvSpPr>
        <p:spPr>
          <a:xfrm flipV="1">
            <a:off x="0" y="825911"/>
            <a:ext cx="511277" cy="45719"/>
          </a:xfrm>
          <a:prstGeom prst="rect">
            <a:avLst/>
          </a:prstGeom>
          <a:solidFill>
            <a:srgbClr val="FAA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0" name="Tekstvak 19">
            <a:extLst>
              <a:ext uri="{FF2B5EF4-FFF2-40B4-BE49-F238E27FC236}">
                <a16:creationId xmlns:a16="http://schemas.microsoft.com/office/drawing/2014/main" id="{A63F75B0-A3B0-2575-B6D8-FFC32DC242B1}"/>
              </a:ext>
            </a:extLst>
          </p:cNvPr>
          <p:cNvSpPr txBox="1"/>
          <p:nvPr/>
        </p:nvSpPr>
        <p:spPr>
          <a:xfrm>
            <a:off x="552449" y="2097932"/>
            <a:ext cx="5635823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1200"/>
              </a:spcAft>
              <a:buBlip>
                <a:blip r:embed="rId4"/>
              </a:buBlip>
            </a:pPr>
            <a:r>
              <a:rPr lang="nl-BE" dirty="0">
                <a:latin typeface="Museo Sans 100" panose="02000000000000000000" pitchFamily="50" charset="0"/>
              </a:rPr>
              <a:t>Konings is een flexibele partner voor co-manufacturing en co-</a:t>
            </a:r>
            <a:r>
              <a:rPr lang="nl-BE" dirty="0" err="1">
                <a:latin typeface="Museo Sans 100" panose="02000000000000000000" pitchFamily="50" charset="0"/>
              </a:rPr>
              <a:t>packing</a:t>
            </a:r>
            <a:r>
              <a:rPr lang="nl-BE" dirty="0">
                <a:latin typeface="Museo Sans 100" panose="02000000000000000000" pitchFamily="50" charset="0"/>
              </a:rPr>
              <a:t> van dranken</a:t>
            </a:r>
          </a:p>
          <a:p>
            <a:pPr marL="285750" indent="-285750">
              <a:spcAft>
                <a:spcPts val="1200"/>
              </a:spcAft>
              <a:buBlip>
                <a:blip r:embed="rId4"/>
              </a:buBlip>
            </a:pPr>
            <a:r>
              <a:rPr lang="nl-BE" dirty="0">
                <a:latin typeface="Museo Sans 100" panose="02000000000000000000" pitchFamily="50" charset="0"/>
              </a:rPr>
              <a:t>Wij zijn gespecialiseerd in sappen, </a:t>
            </a:r>
            <a:r>
              <a:rPr lang="nl-BE" dirty="0" err="1">
                <a:latin typeface="Museo Sans 100" panose="02000000000000000000" pitchFamily="50" charset="0"/>
              </a:rPr>
              <a:t>ciders</a:t>
            </a:r>
            <a:r>
              <a:rPr lang="nl-BE" dirty="0">
                <a:latin typeface="Museo Sans 100" panose="02000000000000000000" pitchFamily="50" charset="0"/>
              </a:rPr>
              <a:t>, frisdranken, bieren, gedistilleerde producten, melkkoffies, gefermenteerde theeën, ...</a:t>
            </a:r>
          </a:p>
        </p:txBody>
      </p:sp>
      <p:pic>
        <p:nvPicPr>
          <p:cNvPr id="21" name="Afbeelding 20">
            <a:extLst>
              <a:ext uri="{FF2B5EF4-FFF2-40B4-BE49-F238E27FC236}">
                <a16:creationId xmlns:a16="http://schemas.microsoft.com/office/drawing/2014/main" id="{1096634B-A740-A828-5968-FFC8C04DD55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2597" y="6152322"/>
            <a:ext cx="465676" cy="480312"/>
          </a:xfrm>
          <a:prstGeom prst="rect">
            <a:avLst/>
          </a:prstGeom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2E0D7B18-DFB1-00CC-FB3E-0ACB1012CCE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037" y="4477174"/>
            <a:ext cx="4669401" cy="1520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51477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  <p:bldP spid="19" grpId="0" animBg="1"/>
      <p:bldP spid="2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">
            <a:extLst>
              <a:ext uri="{FF2B5EF4-FFF2-40B4-BE49-F238E27FC236}">
                <a16:creationId xmlns:a16="http://schemas.microsoft.com/office/drawing/2014/main" id="{05EBD687-F27E-410E-914E-E7620ADCBC5B}"/>
              </a:ext>
            </a:extLst>
          </p:cNvPr>
          <p:cNvSpPr txBox="1">
            <a:spLocks/>
          </p:cNvSpPr>
          <p:nvPr/>
        </p:nvSpPr>
        <p:spPr>
          <a:xfrm>
            <a:off x="622115" y="1211741"/>
            <a:ext cx="5170782" cy="5456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BE" sz="2000" dirty="0">
              <a:latin typeface="Ubuntu" panose="020B0604020202020204" charset="0"/>
            </a:endParaRP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2099091D-5A58-4030-1212-1C1735A4738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2597" y="6152322"/>
            <a:ext cx="465676" cy="480312"/>
          </a:xfrm>
          <a:prstGeom prst="rect">
            <a:avLst/>
          </a:prstGeom>
        </p:spPr>
      </p:pic>
      <p:sp>
        <p:nvSpPr>
          <p:cNvPr id="15" name="Titel 1">
            <a:extLst>
              <a:ext uri="{FF2B5EF4-FFF2-40B4-BE49-F238E27FC236}">
                <a16:creationId xmlns:a16="http://schemas.microsoft.com/office/drawing/2014/main" id="{856E858A-1E55-4E5F-D9F6-0BF8DF992F3D}"/>
              </a:ext>
            </a:extLst>
          </p:cNvPr>
          <p:cNvSpPr txBox="1">
            <a:spLocks/>
          </p:cNvSpPr>
          <p:nvPr/>
        </p:nvSpPr>
        <p:spPr>
          <a:xfrm>
            <a:off x="588038" y="682388"/>
            <a:ext cx="6501019" cy="1057328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1E37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4000" dirty="0">
                <a:latin typeface="Museo Sans 900" panose="02000000000000000000" pitchFamily="50" charset="0"/>
              </a:rPr>
              <a:t>Missie, visie &amp; waarden</a:t>
            </a:r>
            <a:br>
              <a:rPr lang="nl-BE" sz="4000" dirty="0">
                <a:latin typeface="Museo Sans 100" panose="02000000000000000000" pitchFamily="50" charset="0"/>
              </a:rPr>
            </a:br>
            <a:r>
              <a:rPr lang="nl-BE" sz="4000" dirty="0">
                <a:latin typeface="Museo Sans 100" panose="02000000000000000000" pitchFamily="50" charset="0"/>
              </a:rPr>
              <a:t>van Konings</a:t>
            </a:r>
            <a:endParaRPr lang="nl-BE" sz="4000" spc="400" dirty="0">
              <a:latin typeface="Museo Sans 100" panose="02000000000000000000" pitchFamily="50" charset="0"/>
            </a:endParaRPr>
          </a:p>
        </p:txBody>
      </p:sp>
      <p:sp>
        <p:nvSpPr>
          <p:cNvPr id="16" name="Rechthoek 15">
            <a:extLst>
              <a:ext uri="{FF2B5EF4-FFF2-40B4-BE49-F238E27FC236}">
                <a16:creationId xmlns:a16="http://schemas.microsoft.com/office/drawing/2014/main" id="{0B959D95-AF2E-E3C4-0F22-BDCE5C31D11C}"/>
              </a:ext>
            </a:extLst>
          </p:cNvPr>
          <p:cNvSpPr/>
          <p:nvPr/>
        </p:nvSpPr>
        <p:spPr>
          <a:xfrm flipV="1">
            <a:off x="0" y="878513"/>
            <a:ext cx="511277" cy="45719"/>
          </a:xfrm>
          <a:prstGeom prst="rect">
            <a:avLst/>
          </a:prstGeom>
          <a:solidFill>
            <a:srgbClr val="FAA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5F92FB1B-1489-CCA0-7CDE-B46ED977A302}"/>
              </a:ext>
            </a:extLst>
          </p:cNvPr>
          <p:cNvSpPr txBox="1">
            <a:spLocks/>
          </p:cNvSpPr>
          <p:nvPr/>
        </p:nvSpPr>
        <p:spPr>
          <a:xfrm>
            <a:off x="622116" y="1977691"/>
            <a:ext cx="5196177" cy="453825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400"/>
              </a:lnSpc>
              <a:spcAft>
                <a:spcPts val="600"/>
              </a:spcAft>
              <a:buSzPct val="110000"/>
            </a:pPr>
            <a:r>
              <a:rPr lang="nl-NL" sz="2000" dirty="0">
                <a:solidFill>
                  <a:srgbClr val="FAAA00"/>
                </a:solidFill>
                <a:latin typeface="Museo Sans 900" panose="02000000000000000000" pitchFamily="50" charset="0"/>
              </a:rPr>
              <a:t>Missie</a:t>
            </a:r>
            <a:endParaRPr lang="nl-NL" sz="1800" dirty="0">
              <a:solidFill>
                <a:srgbClr val="FAAA00"/>
              </a:solidFill>
              <a:latin typeface="Museo Sans 900" panose="02000000000000000000" pitchFamily="50" charset="0"/>
            </a:endParaRPr>
          </a:p>
          <a:p>
            <a:pPr>
              <a:spcAft>
                <a:spcPts val="1200"/>
              </a:spcAft>
            </a:pPr>
            <a:r>
              <a:rPr lang="nl-BE" sz="1800" dirty="0">
                <a:solidFill>
                  <a:srgbClr val="1E377D"/>
                </a:solidFill>
                <a:latin typeface="Museo Sans 100" panose="02000000000000000000" pitchFamily="50" charset="0"/>
              </a:rPr>
              <a:t>Wij zorgen uitstekend voor de dranken van onze klanten ... &amp; gaan telkens een stapje verder.</a:t>
            </a:r>
          </a:p>
          <a:p>
            <a:pPr>
              <a:lnSpc>
                <a:spcPts val="2400"/>
              </a:lnSpc>
              <a:spcAft>
                <a:spcPts val="600"/>
              </a:spcAft>
              <a:buSzPct val="110000"/>
            </a:pPr>
            <a:r>
              <a:rPr lang="nl-NL" sz="2000" dirty="0">
                <a:solidFill>
                  <a:srgbClr val="FAAA00"/>
                </a:solidFill>
                <a:latin typeface="Museo Sans 900" panose="02000000000000000000" pitchFamily="50" charset="0"/>
              </a:rPr>
              <a:t>Visie</a:t>
            </a:r>
            <a:endParaRPr lang="nl-NL" sz="1800" dirty="0">
              <a:solidFill>
                <a:srgbClr val="FAAA00"/>
              </a:solidFill>
              <a:latin typeface="Museo Sans 900" panose="02000000000000000000" pitchFamily="50" charset="0"/>
            </a:endParaRPr>
          </a:p>
          <a:p>
            <a:pPr>
              <a:spcAft>
                <a:spcPts val="1200"/>
              </a:spcAft>
            </a:pPr>
            <a:r>
              <a:rPr lang="en-US" sz="1800" dirty="0">
                <a:solidFill>
                  <a:srgbClr val="1E377D"/>
                </a:solidFill>
                <a:latin typeface="Museo Sans 100" panose="02000000000000000000" pitchFamily="50" charset="0"/>
              </a:rPr>
              <a:t>We </a:t>
            </a:r>
            <a:r>
              <a:rPr lang="en-US" sz="1800" dirty="0" err="1">
                <a:solidFill>
                  <a:srgbClr val="1E377D"/>
                </a:solidFill>
                <a:latin typeface="Museo Sans 100" panose="02000000000000000000" pitchFamily="50" charset="0"/>
              </a:rPr>
              <a:t>helpen</a:t>
            </a:r>
            <a:r>
              <a:rPr lang="en-US" sz="1800" dirty="0">
                <a:solidFill>
                  <a:srgbClr val="1E377D"/>
                </a:solidFill>
                <a:latin typeface="Museo Sans 100" panose="02000000000000000000" pitchFamily="50" charset="0"/>
              </a:rPr>
              <a:t> </a:t>
            </a:r>
            <a:r>
              <a:rPr lang="en-US" sz="1800" dirty="0" err="1">
                <a:solidFill>
                  <a:srgbClr val="1E377D"/>
                </a:solidFill>
                <a:latin typeface="Museo Sans 100" panose="02000000000000000000" pitchFamily="50" charset="0"/>
              </a:rPr>
              <a:t>onze</a:t>
            </a:r>
            <a:r>
              <a:rPr lang="en-US" sz="1800" dirty="0">
                <a:solidFill>
                  <a:srgbClr val="1E377D"/>
                </a:solidFill>
                <a:latin typeface="Museo Sans 100" panose="02000000000000000000" pitchFamily="50" charset="0"/>
              </a:rPr>
              <a:t> </a:t>
            </a:r>
            <a:r>
              <a:rPr lang="en-US" sz="1800" dirty="0" err="1">
                <a:solidFill>
                  <a:srgbClr val="1E377D"/>
                </a:solidFill>
                <a:latin typeface="Museo Sans 100" panose="02000000000000000000" pitchFamily="50" charset="0"/>
              </a:rPr>
              <a:t>klanten</a:t>
            </a:r>
            <a:r>
              <a:rPr lang="en-US" sz="1800" dirty="0">
                <a:solidFill>
                  <a:srgbClr val="1E377D"/>
                </a:solidFill>
                <a:latin typeface="Museo Sans 100" panose="02000000000000000000" pitchFamily="50" charset="0"/>
              </a:rPr>
              <a:t> om de </a:t>
            </a:r>
            <a:r>
              <a:rPr lang="en-US" sz="1800" dirty="0" err="1">
                <a:solidFill>
                  <a:srgbClr val="1E377D"/>
                </a:solidFill>
                <a:latin typeface="Museo Sans 100" panose="02000000000000000000" pitchFamily="50" charset="0"/>
              </a:rPr>
              <a:t>dranken</a:t>
            </a:r>
            <a:r>
              <a:rPr lang="en-US" sz="1800" dirty="0">
                <a:solidFill>
                  <a:srgbClr val="1E377D"/>
                </a:solidFill>
                <a:latin typeface="Museo Sans 100" panose="02000000000000000000" pitchFamily="50" charset="0"/>
              </a:rPr>
              <a:t> ‘battle’ op de </a:t>
            </a:r>
            <a:r>
              <a:rPr lang="en-US" sz="1800" dirty="0" err="1">
                <a:solidFill>
                  <a:srgbClr val="1E377D"/>
                </a:solidFill>
                <a:latin typeface="Museo Sans 100" panose="02000000000000000000" pitchFamily="50" charset="0"/>
              </a:rPr>
              <a:t>wereldmarkt</a:t>
            </a:r>
            <a:r>
              <a:rPr lang="en-US" sz="1800" dirty="0">
                <a:solidFill>
                  <a:srgbClr val="1E377D"/>
                </a:solidFill>
                <a:latin typeface="Museo Sans 100" panose="02000000000000000000" pitchFamily="50" charset="0"/>
              </a:rPr>
              <a:t> </a:t>
            </a:r>
            <a:r>
              <a:rPr lang="en-US" sz="1800" dirty="0" err="1">
                <a:solidFill>
                  <a:srgbClr val="1E377D"/>
                </a:solidFill>
                <a:latin typeface="Museo Sans 100" panose="02000000000000000000" pitchFamily="50" charset="0"/>
              </a:rPr>
              <a:t>te</a:t>
            </a:r>
            <a:r>
              <a:rPr lang="en-US" sz="1800" dirty="0">
                <a:solidFill>
                  <a:srgbClr val="1E377D"/>
                </a:solidFill>
                <a:latin typeface="Museo Sans 100" panose="02000000000000000000" pitchFamily="50" charset="0"/>
              </a:rPr>
              <a:t> </a:t>
            </a:r>
            <a:r>
              <a:rPr lang="en-US" sz="1800" dirty="0" err="1">
                <a:solidFill>
                  <a:srgbClr val="1E377D"/>
                </a:solidFill>
                <a:latin typeface="Museo Sans 100" panose="02000000000000000000" pitchFamily="50" charset="0"/>
              </a:rPr>
              <a:t>winnen</a:t>
            </a:r>
            <a:r>
              <a:rPr lang="en-US" sz="1800" dirty="0">
                <a:solidFill>
                  <a:srgbClr val="1E377D"/>
                </a:solidFill>
                <a:latin typeface="Museo Sans 100" panose="02000000000000000000" pitchFamily="50" charset="0"/>
              </a:rPr>
              <a:t>.</a:t>
            </a:r>
            <a:endParaRPr lang="nl-BE" sz="1800" dirty="0">
              <a:solidFill>
                <a:srgbClr val="1E377D"/>
              </a:solidFill>
              <a:latin typeface="Museo Sans 100" panose="02000000000000000000" pitchFamily="50" charset="0"/>
            </a:endParaRPr>
          </a:p>
          <a:p>
            <a:pPr>
              <a:lnSpc>
                <a:spcPts val="2400"/>
              </a:lnSpc>
              <a:spcAft>
                <a:spcPts val="600"/>
              </a:spcAft>
              <a:buSzPct val="110000"/>
            </a:pPr>
            <a:r>
              <a:rPr lang="nl-NL" sz="2000" dirty="0">
                <a:solidFill>
                  <a:srgbClr val="FAAA00"/>
                </a:solidFill>
                <a:latin typeface="Museo Sans 900" panose="02000000000000000000" pitchFamily="50" charset="0"/>
              </a:rPr>
              <a:t>Waarden</a:t>
            </a:r>
            <a:endParaRPr lang="nl-NL" sz="1800" dirty="0">
              <a:solidFill>
                <a:srgbClr val="FAAA00"/>
              </a:solidFill>
              <a:latin typeface="Museo Sans 900" panose="02000000000000000000" pitchFamily="50" charset="0"/>
            </a:endParaRPr>
          </a:p>
          <a:p>
            <a:pPr marL="285750" indent="-285750">
              <a:spcAft>
                <a:spcPts val="600"/>
              </a:spcAft>
              <a:buBlip>
                <a:blip r:embed="rId4"/>
              </a:buBlip>
            </a:pPr>
            <a:r>
              <a:rPr lang="en-US" sz="1800" dirty="0">
                <a:solidFill>
                  <a:srgbClr val="1E377D"/>
                </a:solidFill>
                <a:latin typeface="Museo Sans 900" panose="02000000000000000000" pitchFamily="50" charset="0"/>
              </a:rPr>
              <a:t>C</a:t>
            </a:r>
            <a:r>
              <a:rPr lang="en-US" sz="1800" dirty="0">
                <a:solidFill>
                  <a:srgbClr val="1E377D"/>
                </a:solidFill>
                <a:latin typeface="Museo Sans 100" panose="02000000000000000000" pitchFamily="50" charset="0"/>
              </a:rPr>
              <a:t>ollaboration</a:t>
            </a:r>
          </a:p>
          <a:p>
            <a:pPr marL="285750" indent="-285750">
              <a:spcAft>
                <a:spcPts val="600"/>
              </a:spcAft>
              <a:buBlip>
                <a:blip r:embed="rId4"/>
              </a:buBlip>
            </a:pPr>
            <a:r>
              <a:rPr lang="en-US" sz="1800" dirty="0">
                <a:solidFill>
                  <a:srgbClr val="1E377D"/>
                </a:solidFill>
                <a:latin typeface="Museo Sans 900" panose="02000000000000000000" pitchFamily="50" charset="0"/>
              </a:rPr>
              <a:t>O</a:t>
            </a:r>
            <a:r>
              <a:rPr lang="en-US" sz="1800" dirty="0">
                <a:solidFill>
                  <a:srgbClr val="1E377D"/>
                </a:solidFill>
                <a:latin typeface="Museo Sans 100" panose="02000000000000000000" pitchFamily="50" charset="0"/>
              </a:rPr>
              <a:t>wnership</a:t>
            </a:r>
          </a:p>
          <a:p>
            <a:pPr marL="285750" indent="-285750">
              <a:spcAft>
                <a:spcPts val="600"/>
              </a:spcAft>
              <a:buBlip>
                <a:blip r:embed="rId4"/>
              </a:buBlip>
            </a:pPr>
            <a:r>
              <a:rPr lang="en-US" sz="1800" dirty="0">
                <a:solidFill>
                  <a:srgbClr val="1E377D"/>
                </a:solidFill>
                <a:latin typeface="Museo Sans 900" panose="02000000000000000000" pitchFamily="50" charset="0"/>
              </a:rPr>
              <a:t>R</a:t>
            </a:r>
            <a:r>
              <a:rPr lang="en-US" sz="1800" dirty="0">
                <a:solidFill>
                  <a:srgbClr val="1E377D"/>
                </a:solidFill>
                <a:latin typeface="Museo Sans 100" panose="02000000000000000000" pitchFamily="50" charset="0"/>
              </a:rPr>
              <a:t>eliability</a:t>
            </a:r>
          </a:p>
          <a:p>
            <a:pPr marL="285750" indent="-285750">
              <a:buBlip>
                <a:blip r:embed="rId4"/>
              </a:buBlip>
            </a:pPr>
            <a:r>
              <a:rPr lang="en-US" sz="1800" dirty="0">
                <a:solidFill>
                  <a:srgbClr val="1E377D"/>
                </a:solidFill>
                <a:latin typeface="Museo Sans 900" panose="02000000000000000000" pitchFamily="50" charset="0"/>
              </a:rPr>
              <a:t>E</a:t>
            </a:r>
            <a:r>
              <a:rPr lang="en-US" sz="1800" dirty="0">
                <a:solidFill>
                  <a:srgbClr val="1E377D"/>
                </a:solidFill>
                <a:latin typeface="Museo Sans 100" panose="02000000000000000000" pitchFamily="50" charset="0"/>
              </a:rPr>
              <a:t>ntrepreneurship</a:t>
            </a:r>
            <a:endParaRPr lang="nl-BE" sz="1800" dirty="0">
              <a:solidFill>
                <a:srgbClr val="1E377D"/>
              </a:solidFill>
              <a:latin typeface="Museo Sans 100" panose="02000000000000000000" pitchFamily="50" charset="0"/>
            </a:endParaRPr>
          </a:p>
        </p:txBody>
      </p:sp>
      <p:pic>
        <p:nvPicPr>
          <p:cNvPr id="12" name="Tijdelijke aanduiding voor afbeelding 24">
            <a:extLst>
              <a:ext uri="{FF2B5EF4-FFF2-40B4-BE49-F238E27FC236}">
                <a16:creationId xmlns:a16="http://schemas.microsoft.com/office/drawing/2014/main" id="{D540E57B-859C-46BC-8F90-36987CA85A7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58" r="-4290"/>
          <a:stretch/>
        </p:blipFill>
        <p:spPr>
          <a:xfrm>
            <a:off x="6223379" y="-373304"/>
            <a:ext cx="6611137" cy="6217811"/>
          </a:xfrm>
          <a:custGeom>
            <a:avLst/>
            <a:gdLst>
              <a:gd name="connsiteX0" fmla="*/ 961170 w 1892476"/>
              <a:gd name="connsiteY0" fmla="*/ 1060 h 1779884"/>
              <a:gd name="connsiteX1" fmla="*/ 1443811 w 1892476"/>
              <a:gd name="connsiteY1" fmla="*/ 242709 h 1779884"/>
              <a:gd name="connsiteX2" fmla="*/ 1754599 w 1892476"/>
              <a:gd name="connsiteY2" fmla="*/ 1512190 h 1779884"/>
              <a:gd name="connsiteX3" fmla="*/ 469299 w 1892476"/>
              <a:gd name="connsiteY3" fmla="*/ 1775565 h 1779884"/>
              <a:gd name="connsiteX4" fmla="*/ 495 w 1892476"/>
              <a:gd name="connsiteY4" fmla="*/ 1085516 h 1779884"/>
              <a:gd name="connsiteX5" fmla="*/ 490372 w 1892476"/>
              <a:gd name="connsiteY5" fmla="*/ 174233 h 1779884"/>
              <a:gd name="connsiteX6" fmla="*/ 961170 w 1892476"/>
              <a:gd name="connsiteY6" fmla="*/ 1060 h 177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92476" h="1779884">
                <a:moveTo>
                  <a:pt x="961170" y="1060"/>
                </a:moveTo>
                <a:cubicBezTo>
                  <a:pt x="1130390" y="10937"/>
                  <a:pt x="1301585" y="89951"/>
                  <a:pt x="1443811" y="242709"/>
                </a:cubicBezTo>
                <a:cubicBezTo>
                  <a:pt x="1728254" y="548232"/>
                  <a:pt x="2096989" y="1317295"/>
                  <a:pt x="1754599" y="1512190"/>
                </a:cubicBezTo>
                <a:cubicBezTo>
                  <a:pt x="1412191" y="1707082"/>
                  <a:pt x="790620" y="1801894"/>
                  <a:pt x="469299" y="1775565"/>
                </a:cubicBezTo>
                <a:cubicBezTo>
                  <a:pt x="147992" y="1749232"/>
                  <a:pt x="-10045" y="1401573"/>
                  <a:pt x="495" y="1085516"/>
                </a:cubicBezTo>
                <a:cubicBezTo>
                  <a:pt x="15489" y="635522"/>
                  <a:pt x="221731" y="421810"/>
                  <a:pt x="490372" y="174233"/>
                </a:cubicBezTo>
                <a:cubicBezTo>
                  <a:pt x="624702" y="50443"/>
                  <a:pt x="791949" y="-8817"/>
                  <a:pt x="961170" y="1060"/>
                </a:cubicBezTo>
                <a:close/>
              </a:path>
            </a:pathLst>
          </a:custGeom>
        </p:spPr>
      </p:pic>
      <p:grpSp>
        <p:nvGrpSpPr>
          <p:cNvPr id="2" name="Groep 1">
            <a:extLst>
              <a:ext uri="{FF2B5EF4-FFF2-40B4-BE49-F238E27FC236}">
                <a16:creationId xmlns:a16="http://schemas.microsoft.com/office/drawing/2014/main" id="{55782FA5-8BE6-39A7-649A-919AB74FCA32}"/>
              </a:ext>
            </a:extLst>
          </p:cNvPr>
          <p:cNvGrpSpPr/>
          <p:nvPr/>
        </p:nvGrpSpPr>
        <p:grpSpPr>
          <a:xfrm>
            <a:off x="7299503" y="4238318"/>
            <a:ext cx="4032284" cy="1061829"/>
            <a:chOff x="7963291" y="3669359"/>
            <a:chExt cx="4032284" cy="1061829"/>
          </a:xfrm>
        </p:grpSpPr>
        <p:grpSp>
          <p:nvGrpSpPr>
            <p:cNvPr id="18" name="Groep 17">
              <a:extLst>
                <a:ext uri="{FF2B5EF4-FFF2-40B4-BE49-F238E27FC236}">
                  <a16:creationId xmlns:a16="http://schemas.microsoft.com/office/drawing/2014/main" id="{5F2910ED-E3BA-E8FD-CB64-017811761505}"/>
                </a:ext>
              </a:extLst>
            </p:cNvPr>
            <p:cNvGrpSpPr/>
            <p:nvPr/>
          </p:nvGrpSpPr>
          <p:grpSpPr>
            <a:xfrm>
              <a:off x="7963291" y="3669359"/>
              <a:ext cx="4032284" cy="1061829"/>
              <a:chOff x="8173264" y="5206906"/>
              <a:chExt cx="4032284" cy="1061829"/>
            </a:xfrm>
          </p:grpSpPr>
          <p:sp>
            <p:nvSpPr>
              <p:cNvPr id="19" name="Tekstvak 18">
                <a:extLst>
                  <a:ext uri="{FF2B5EF4-FFF2-40B4-BE49-F238E27FC236}">
                    <a16:creationId xmlns:a16="http://schemas.microsoft.com/office/drawing/2014/main" id="{DCABAB06-02E4-5FBC-6BB2-016A7DB4747F}"/>
                  </a:ext>
                </a:extLst>
              </p:cNvPr>
              <p:cNvSpPr txBox="1"/>
              <p:nvPr/>
            </p:nvSpPr>
            <p:spPr>
              <a:xfrm>
                <a:off x="8249920" y="5206906"/>
                <a:ext cx="3955628" cy="106182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2100" i="1" dirty="0" err="1">
                    <a:solidFill>
                      <a:schemeClr val="bg1"/>
                    </a:solidFill>
                    <a:latin typeface="Museo 100" panose="02000000000000000000" pitchFamily="50" charset="0"/>
                  </a:rPr>
                  <a:t>Ons</a:t>
                </a:r>
                <a:r>
                  <a:rPr lang="en-US" sz="2100" i="1" dirty="0">
                    <a:solidFill>
                      <a:schemeClr val="bg1"/>
                    </a:solidFill>
                    <a:latin typeface="Museo 100" panose="02000000000000000000" pitchFamily="50" charset="0"/>
                  </a:rPr>
                  <a:t> </a:t>
                </a:r>
                <a:r>
                  <a:rPr lang="en-US" sz="2100" i="1" dirty="0" err="1">
                    <a:solidFill>
                      <a:schemeClr val="bg1"/>
                    </a:solidFill>
                    <a:latin typeface="Museo 100" panose="02000000000000000000" pitchFamily="50" charset="0"/>
                  </a:rPr>
                  <a:t>doel</a:t>
                </a:r>
                <a:r>
                  <a:rPr lang="en-US" sz="2100" i="1" dirty="0">
                    <a:solidFill>
                      <a:schemeClr val="bg1"/>
                    </a:solidFill>
                    <a:latin typeface="Museo 100" panose="02000000000000000000" pitchFamily="50" charset="0"/>
                  </a:rPr>
                  <a:t> is de </a:t>
                </a:r>
                <a:r>
                  <a:rPr lang="en-US" sz="2100" i="1" dirty="0" err="1">
                    <a:solidFill>
                      <a:schemeClr val="bg1"/>
                    </a:solidFill>
                    <a:latin typeface="Museo 100" panose="02000000000000000000" pitchFamily="50" charset="0"/>
                  </a:rPr>
                  <a:t>klanten</a:t>
                </a:r>
                <a:r>
                  <a:rPr lang="en-US" sz="2100" i="1" dirty="0">
                    <a:solidFill>
                      <a:schemeClr val="bg1"/>
                    </a:solidFill>
                    <a:latin typeface="Museo 100" panose="02000000000000000000" pitchFamily="50" charset="0"/>
                  </a:rPr>
                  <a:t> </a:t>
                </a:r>
                <a:r>
                  <a:rPr lang="en-US" sz="2100" i="1" dirty="0" err="1">
                    <a:solidFill>
                      <a:schemeClr val="bg1"/>
                    </a:solidFill>
                    <a:latin typeface="Museo 100" panose="02000000000000000000" pitchFamily="50" charset="0"/>
                  </a:rPr>
                  <a:t>ontzorgen</a:t>
                </a:r>
                <a:r>
                  <a:rPr lang="en-US" sz="2100" i="1" dirty="0">
                    <a:solidFill>
                      <a:schemeClr val="bg1"/>
                    </a:solidFill>
                    <a:latin typeface="Museo 100" panose="02000000000000000000" pitchFamily="50" charset="0"/>
                  </a:rPr>
                  <a:t> door </a:t>
                </a:r>
                <a:r>
                  <a:rPr lang="en-US" sz="2100" i="1" dirty="0" err="1">
                    <a:solidFill>
                      <a:schemeClr val="bg1"/>
                    </a:solidFill>
                    <a:latin typeface="Museo 100" panose="02000000000000000000" pitchFamily="50" charset="0"/>
                  </a:rPr>
                  <a:t>een</a:t>
                </a:r>
                <a:r>
                  <a:rPr lang="en-US" sz="2100" i="1" dirty="0">
                    <a:solidFill>
                      <a:schemeClr val="bg1"/>
                    </a:solidFill>
                    <a:latin typeface="Museo 100" panose="02000000000000000000" pitchFamily="50" charset="0"/>
                  </a:rPr>
                  <a:t> </a:t>
                </a:r>
                <a:r>
                  <a:rPr lang="en-US" sz="2100" i="1" dirty="0" err="1">
                    <a:solidFill>
                      <a:schemeClr val="bg1"/>
                    </a:solidFill>
                    <a:latin typeface="Museo 100" panose="02000000000000000000" pitchFamily="50" charset="0"/>
                  </a:rPr>
                  <a:t>volledige</a:t>
                </a:r>
                <a:r>
                  <a:rPr lang="en-US" sz="2100" i="1" dirty="0">
                    <a:solidFill>
                      <a:schemeClr val="bg1"/>
                    </a:solidFill>
                    <a:latin typeface="Museo 100" panose="02000000000000000000" pitchFamily="50" charset="0"/>
                  </a:rPr>
                  <a:t> service </a:t>
                </a:r>
                <a:r>
                  <a:rPr lang="en-US" sz="2100" i="1" dirty="0" err="1">
                    <a:solidFill>
                      <a:schemeClr val="bg1"/>
                    </a:solidFill>
                    <a:latin typeface="Museo 100" panose="02000000000000000000" pitchFamily="50" charset="0"/>
                  </a:rPr>
                  <a:t>aan</a:t>
                </a:r>
                <a:r>
                  <a:rPr lang="en-US" sz="2100" i="1" dirty="0">
                    <a:solidFill>
                      <a:schemeClr val="bg1"/>
                    </a:solidFill>
                    <a:latin typeface="Museo 100" panose="02000000000000000000" pitchFamily="50" charset="0"/>
                  </a:rPr>
                  <a:t> </a:t>
                </a:r>
                <a:r>
                  <a:rPr lang="en-US" sz="2100" i="1" dirty="0" err="1">
                    <a:solidFill>
                      <a:schemeClr val="bg1"/>
                    </a:solidFill>
                    <a:latin typeface="Museo 100" panose="02000000000000000000" pitchFamily="50" charset="0"/>
                  </a:rPr>
                  <a:t>te</a:t>
                </a:r>
                <a:r>
                  <a:rPr lang="en-US" sz="2100" i="1" dirty="0">
                    <a:solidFill>
                      <a:schemeClr val="bg1"/>
                    </a:solidFill>
                    <a:latin typeface="Museo 100" panose="02000000000000000000" pitchFamily="50" charset="0"/>
                  </a:rPr>
                  <a:t> </a:t>
                </a:r>
                <a:r>
                  <a:rPr lang="en-US" sz="2100" i="1" dirty="0" err="1">
                    <a:solidFill>
                      <a:schemeClr val="bg1"/>
                    </a:solidFill>
                    <a:latin typeface="Museo 100" panose="02000000000000000000" pitchFamily="50" charset="0"/>
                  </a:rPr>
                  <a:t>bieden</a:t>
                </a:r>
                <a:r>
                  <a:rPr lang="en-US" sz="2100" i="1" dirty="0">
                    <a:solidFill>
                      <a:schemeClr val="bg1"/>
                    </a:solidFill>
                    <a:latin typeface="Museo 100" panose="02000000000000000000" pitchFamily="50" charset="0"/>
                  </a:rPr>
                  <a:t>. </a:t>
                </a:r>
                <a:endParaRPr lang="nl-BE" sz="2100" i="1" dirty="0">
                  <a:solidFill>
                    <a:schemeClr val="bg1"/>
                  </a:solidFill>
                  <a:latin typeface="Museo 100" panose="02000000000000000000" pitchFamily="50" charset="0"/>
                </a:endParaRPr>
              </a:p>
            </p:txBody>
          </p:sp>
          <p:pic>
            <p:nvPicPr>
              <p:cNvPr id="21" name="Afbeelding 20">
                <a:extLst>
                  <a:ext uri="{FF2B5EF4-FFF2-40B4-BE49-F238E27FC236}">
                    <a16:creationId xmlns:a16="http://schemas.microsoft.com/office/drawing/2014/main" id="{1384A3E4-01F4-EDA5-C2EF-2244660FEE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173264" y="5253191"/>
                <a:ext cx="172451" cy="126000"/>
              </a:xfrm>
              <a:prstGeom prst="rect">
                <a:avLst/>
              </a:prstGeom>
            </p:spPr>
          </p:pic>
        </p:grpSp>
        <p:pic>
          <p:nvPicPr>
            <p:cNvPr id="22" name="Afbeelding 21">
              <a:extLst>
                <a:ext uri="{FF2B5EF4-FFF2-40B4-BE49-F238E27FC236}">
                  <a16:creationId xmlns:a16="http://schemas.microsoft.com/office/drawing/2014/main" id="{D5D44BFD-B325-1374-7CA8-11815820BD6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>
              <a:off x="10648681" y="4413971"/>
              <a:ext cx="172451" cy="12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30755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 animBg="1"/>
      <p:bldP spid="1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572CCF0-726F-476B-96EF-030311722A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9232" y="2219977"/>
            <a:ext cx="6635488" cy="6460620"/>
          </a:xfrm>
        </p:spPr>
        <p:txBody>
          <a:bodyPr/>
          <a:lstStyle/>
          <a:p>
            <a:pPr>
              <a:spcAft>
                <a:spcPts val="1500"/>
              </a:spcAft>
            </a:pPr>
            <a:r>
              <a:rPr lang="en-US" sz="2000" b="1" dirty="0">
                <a:solidFill>
                  <a:schemeClr val="accent1"/>
                </a:solidFill>
                <a:latin typeface="Museo Sans 900" panose="02000000000000000000" pitchFamily="50" charset="0"/>
              </a:rPr>
              <a:t>1946:</a:t>
            </a:r>
            <a:r>
              <a:rPr lang="en-US" sz="2000" dirty="0">
                <a:latin typeface="Museo Sans 900" panose="02000000000000000000" pitchFamily="50" charset="0"/>
              </a:rPr>
              <a:t> </a:t>
            </a:r>
            <a:r>
              <a:rPr lang="en-US" sz="2000" dirty="0" err="1">
                <a:latin typeface="Museo Sans 100" panose="02000000000000000000" pitchFamily="50" charset="0"/>
              </a:rPr>
              <a:t>Opgericht</a:t>
            </a:r>
            <a:r>
              <a:rPr lang="en-US" sz="2000" dirty="0">
                <a:latin typeface="Museo Sans 100" panose="02000000000000000000" pitchFamily="50" charset="0"/>
              </a:rPr>
              <a:t> door M. </a:t>
            </a:r>
            <a:r>
              <a:rPr lang="en-US" sz="2000" dirty="0" err="1">
                <a:latin typeface="Museo Sans 100" panose="02000000000000000000" pitchFamily="50" charset="0"/>
              </a:rPr>
              <a:t>Konings</a:t>
            </a:r>
            <a:r>
              <a:rPr lang="en-US" sz="2000" dirty="0">
                <a:latin typeface="Museo Sans 100" panose="02000000000000000000" pitchFamily="50" charset="0"/>
              </a:rPr>
              <a:t> </a:t>
            </a:r>
            <a:r>
              <a:rPr lang="en-US" sz="2000" dirty="0" err="1">
                <a:latin typeface="Museo Sans 100" panose="02000000000000000000" pitchFamily="50" charset="0"/>
              </a:rPr>
              <a:t>als</a:t>
            </a:r>
            <a:r>
              <a:rPr lang="en-US" sz="2000" dirty="0">
                <a:latin typeface="Museo Sans 100" panose="02000000000000000000" pitchFamily="50" charset="0"/>
              </a:rPr>
              <a:t> </a:t>
            </a:r>
            <a:r>
              <a:rPr lang="en-US" sz="2000" dirty="0" err="1">
                <a:latin typeface="Museo Sans 100" panose="02000000000000000000" pitchFamily="50" charset="0"/>
              </a:rPr>
              <a:t>distilleerderij</a:t>
            </a:r>
            <a:endParaRPr lang="aa-ET" sz="2000" dirty="0">
              <a:latin typeface="Museo Sans 100" panose="02000000000000000000" pitchFamily="50" charset="0"/>
            </a:endParaRPr>
          </a:p>
          <a:p>
            <a:pPr>
              <a:spcAft>
                <a:spcPts val="1500"/>
              </a:spcAft>
            </a:pPr>
            <a:r>
              <a:rPr lang="en-US" sz="2000" b="1" dirty="0">
                <a:solidFill>
                  <a:schemeClr val="accent1"/>
                </a:solidFill>
                <a:latin typeface="Museo Sans 900" panose="02000000000000000000" pitchFamily="50" charset="0"/>
              </a:rPr>
              <a:t>1970:</a:t>
            </a:r>
            <a:r>
              <a:rPr lang="en-US" sz="2000" dirty="0">
                <a:latin typeface="Museo Sans 900" panose="02000000000000000000" pitchFamily="50" charset="0"/>
              </a:rPr>
              <a:t> </a:t>
            </a:r>
            <a:r>
              <a:rPr lang="en-US" sz="2000" dirty="0" err="1">
                <a:latin typeface="Museo 100" panose="02000000000000000000" charset="0"/>
              </a:rPr>
              <a:t>Gestart</a:t>
            </a:r>
            <a:r>
              <a:rPr lang="en-US" sz="2000" dirty="0">
                <a:latin typeface="Museo 100" panose="02000000000000000000" charset="0"/>
              </a:rPr>
              <a:t> met </a:t>
            </a:r>
            <a:r>
              <a:rPr lang="en-US" sz="2000" dirty="0" err="1">
                <a:latin typeface="Museo 100" panose="02000000000000000000" charset="0"/>
              </a:rPr>
              <a:t>productie</a:t>
            </a:r>
            <a:r>
              <a:rPr lang="en-US" sz="2000" dirty="0">
                <a:latin typeface="Museo 100" panose="02000000000000000000" charset="0"/>
              </a:rPr>
              <a:t> van ciders</a:t>
            </a:r>
            <a:endParaRPr lang="aa-ET" sz="2000" dirty="0">
              <a:latin typeface="Museo 100" panose="02000000000000000000" charset="0"/>
            </a:endParaRPr>
          </a:p>
          <a:p>
            <a:pPr>
              <a:spcAft>
                <a:spcPts val="1500"/>
              </a:spcAft>
            </a:pPr>
            <a:r>
              <a:rPr lang="en-US" sz="2000" b="1" dirty="0">
                <a:solidFill>
                  <a:schemeClr val="accent1"/>
                </a:solidFill>
                <a:latin typeface="Museo Sans 900" panose="02000000000000000000" pitchFamily="50" charset="0"/>
              </a:rPr>
              <a:t>1987:</a:t>
            </a:r>
            <a:r>
              <a:rPr lang="en-US" sz="2000" dirty="0">
                <a:latin typeface="Museo Sans 900" panose="02000000000000000000" pitchFamily="50" charset="0"/>
              </a:rPr>
              <a:t> </a:t>
            </a:r>
            <a:r>
              <a:rPr lang="en-US" sz="2000" dirty="0" err="1">
                <a:latin typeface="Museo Sans 100" panose="02000000000000000000" pitchFamily="50" charset="0"/>
              </a:rPr>
              <a:t>Gestart</a:t>
            </a:r>
            <a:r>
              <a:rPr lang="en-US" sz="2000" dirty="0">
                <a:latin typeface="Museo Sans 100" panose="02000000000000000000" pitchFamily="50" charset="0"/>
              </a:rPr>
              <a:t> met </a:t>
            </a:r>
            <a:r>
              <a:rPr lang="en-US" sz="2000" dirty="0" err="1">
                <a:latin typeface="Museo Sans 100" panose="02000000000000000000" pitchFamily="50" charset="0"/>
              </a:rPr>
              <a:t>productie</a:t>
            </a:r>
            <a:r>
              <a:rPr lang="en-US" sz="2000" dirty="0">
                <a:latin typeface="Museo Sans 100" panose="02000000000000000000" pitchFamily="50" charset="0"/>
              </a:rPr>
              <a:t> van </a:t>
            </a:r>
            <a:r>
              <a:rPr lang="en-US" sz="2000" dirty="0" err="1">
                <a:latin typeface="Museo Sans 100" panose="02000000000000000000" pitchFamily="50" charset="0"/>
              </a:rPr>
              <a:t>fruitsappen</a:t>
            </a:r>
            <a:endParaRPr lang="aa-ET" sz="2000" dirty="0">
              <a:latin typeface="Museo Sans 100" panose="02000000000000000000" pitchFamily="50" charset="0"/>
            </a:endParaRPr>
          </a:p>
          <a:p>
            <a:pPr>
              <a:spcAft>
                <a:spcPts val="1500"/>
              </a:spcAft>
            </a:pPr>
            <a:r>
              <a:rPr lang="en-GB" sz="2000" b="1" dirty="0">
                <a:solidFill>
                  <a:schemeClr val="accent1"/>
                </a:solidFill>
                <a:latin typeface="Museo Sans 900" panose="02000000000000000000" pitchFamily="50" charset="0"/>
              </a:rPr>
              <a:t>2007:</a:t>
            </a:r>
            <a:r>
              <a:rPr lang="en-GB" sz="2000" dirty="0">
                <a:latin typeface="Museo Sans 900" panose="02000000000000000000" pitchFamily="50" charset="0"/>
              </a:rPr>
              <a:t> </a:t>
            </a:r>
            <a:r>
              <a:rPr lang="en-GB" sz="2000" dirty="0">
                <a:latin typeface="Museo Sans 100" panose="02000000000000000000" pitchFamily="50" charset="0"/>
              </a:rPr>
              <a:t>MBO door Jos Rutten, Dirk Maris, Luc </a:t>
            </a:r>
            <a:r>
              <a:rPr lang="en-GB" sz="2000" dirty="0" err="1">
                <a:latin typeface="Museo Sans 100" panose="02000000000000000000" pitchFamily="50" charset="0"/>
              </a:rPr>
              <a:t>Nulens</a:t>
            </a:r>
            <a:r>
              <a:rPr lang="en-GB" sz="2000" dirty="0">
                <a:latin typeface="Museo Sans 100" panose="02000000000000000000" pitchFamily="50" charset="0"/>
              </a:rPr>
              <a:t>, </a:t>
            </a:r>
            <a:r>
              <a:rPr lang="en-GB" sz="2000" dirty="0" err="1">
                <a:latin typeface="Museo Sans 100" panose="02000000000000000000" pitchFamily="50" charset="0"/>
              </a:rPr>
              <a:t>Jef</a:t>
            </a:r>
            <a:r>
              <a:rPr lang="en-GB" sz="2000" dirty="0">
                <a:latin typeface="Museo Sans 100" panose="02000000000000000000" pitchFamily="50" charset="0"/>
              </a:rPr>
              <a:t> Moors</a:t>
            </a:r>
            <a:endParaRPr lang="aa-ET" sz="2000" dirty="0">
              <a:latin typeface="Museo Sans 100" panose="02000000000000000000" pitchFamily="50" charset="0"/>
            </a:endParaRPr>
          </a:p>
          <a:p>
            <a:pPr>
              <a:spcAft>
                <a:spcPts val="1500"/>
              </a:spcAft>
            </a:pPr>
            <a:r>
              <a:rPr lang="en-US" sz="2000" b="1" dirty="0">
                <a:solidFill>
                  <a:schemeClr val="accent1"/>
                </a:solidFill>
                <a:latin typeface="Museo Sans 900" panose="02000000000000000000" pitchFamily="50" charset="0"/>
              </a:rPr>
              <a:t>2011:</a:t>
            </a:r>
            <a:r>
              <a:rPr lang="en-US" sz="2000" dirty="0">
                <a:latin typeface="Museo Sans 900" panose="02000000000000000000" pitchFamily="50" charset="0"/>
              </a:rPr>
              <a:t> </a:t>
            </a:r>
            <a:r>
              <a:rPr lang="en-US" sz="2000" dirty="0" err="1">
                <a:latin typeface="Museo Sans 100" panose="02000000000000000000" pitchFamily="50" charset="0"/>
              </a:rPr>
              <a:t>Overname</a:t>
            </a:r>
            <a:r>
              <a:rPr lang="en-US" sz="2000" dirty="0">
                <a:latin typeface="Museo Sans 100" panose="02000000000000000000" pitchFamily="50" charset="0"/>
              </a:rPr>
              <a:t> van de </a:t>
            </a:r>
            <a:r>
              <a:rPr lang="en-US" sz="2000" dirty="0" err="1">
                <a:latin typeface="Museo Sans 100" panose="02000000000000000000" pitchFamily="50" charset="0"/>
              </a:rPr>
              <a:t>fabriek</a:t>
            </a:r>
            <a:r>
              <a:rPr lang="en-US" sz="2000" dirty="0">
                <a:latin typeface="Museo Sans 100" panose="02000000000000000000" pitchFamily="50" charset="0"/>
              </a:rPr>
              <a:t> in Borgloon (BE)</a:t>
            </a:r>
            <a:endParaRPr lang="aa-ET" sz="2000" dirty="0">
              <a:latin typeface="Museo Sans 100" panose="02000000000000000000" pitchFamily="50" charset="0"/>
            </a:endParaRPr>
          </a:p>
          <a:p>
            <a:pPr>
              <a:spcAft>
                <a:spcPts val="1500"/>
              </a:spcAft>
            </a:pPr>
            <a:r>
              <a:rPr lang="en-US" sz="2000" b="1" dirty="0">
                <a:solidFill>
                  <a:schemeClr val="accent1"/>
                </a:solidFill>
                <a:latin typeface="Museo Sans 900" panose="02000000000000000000" pitchFamily="50" charset="0"/>
              </a:rPr>
              <a:t>2015:</a:t>
            </a:r>
            <a:r>
              <a:rPr lang="en-US" sz="2000" dirty="0">
                <a:latin typeface="Museo Sans 900" panose="02000000000000000000" pitchFamily="50" charset="0"/>
              </a:rPr>
              <a:t> </a:t>
            </a:r>
            <a:r>
              <a:rPr lang="en-US" sz="2000" dirty="0" err="1">
                <a:latin typeface="Museo Sans 100" panose="02000000000000000000" pitchFamily="50" charset="0"/>
              </a:rPr>
              <a:t>Overname</a:t>
            </a:r>
            <a:r>
              <a:rPr lang="en-US" sz="2000" dirty="0">
                <a:latin typeface="Museo Sans 100" panose="02000000000000000000" pitchFamily="50" charset="0"/>
              </a:rPr>
              <a:t> van de </a:t>
            </a:r>
            <a:r>
              <a:rPr lang="en-US" sz="2000" dirty="0" err="1">
                <a:latin typeface="Museo Sans 100" panose="02000000000000000000" pitchFamily="50" charset="0"/>
              </a:rPr>
              <a:t>fabriek</a:t>
            </a:r>
            <a:r>
              <a:rPr lang="en-US" sz="2000" dirty="0">
                <a:latin typeface="Museo Sans 100" panose="02000000000000000000" pitchFamily="50" charset="0"/>
              </a:rPr>
              <a:t> in Breda (NL)</a:t>
            </a:r>
            <a:endParaRPr lang="aa-ET" sz="2000" dirty="0">
              <a:latin typeface="Museo Sans 100" panose="02000000000000000000" pitchFamily="50" charset="0"/>
            </a:endParaRPr>
          </a:p>
          <a:p>
            <a:pPr>
              <a:spcAft>
                <a:spcPts val="1500"/>
              </a:spcAft>
            </a:pPr>
            <a:r>
              <a:rPr lang="en-US" sz="2000" b="1" dirty="0">
                <a:solidFill>
                  <a:schemeClr val="accent1"/>
                </a:solidFill>
                <a:latin typeface="Museo Sans 900" panose="02000000000000000000" pitchFamily="50" charset="0"/>
              </a:rPr>
              <a:t>2016:</a:t>
            </a:r>
            <a:r>
              <a:rPr lang="en-US" sz="2000" dirty="0">
                <a:latin typeface="Museo Sans 900" panose="02000000000000000000" pitchFamily="50" charset="0"/>
              </a:rPr>
              <a:t> </a:t>
            </a:r>
            <a:r>
              <a:rPr lang="en-US" sz="2000" dirty="0" err="1">
                <a:latin typeface="Museo Sans 100" panose="02000000000000000000" pitchFamily="50" charset="0"/>
              </a:rPr>
              <a:t>Overname</a:t>
            </a:r>
            <a:r>
              <a:rPr lang="en-US" sz="2000" dirty="0">
                <a:latin typeface="Museo Sans 100" panose="02000000000000000000" pitchFamily="50" charset="0"/>
              </a:rPr>
              <a:t> van de </a:t>
            </a:r>
            <a:r>
              <a:rPr lang="en-US" sz="2000" dirty="0" err="1">
                <a:latin typeface="Museo Sans 100" panose="02000000000000000000" pitchFamily="50" charset="0"/>
              </a:rPr>
              <a:t>fabriek</a:t>
            </a:r>
            <a:r>
              <a:rPr lang="en-US" sz="2000" dirty="0">
                <a:latin typeface="Museo Sans 100" panose="02000000000000000000" pitchFamily="50" charset="0"/>
              </a:rPr>
              <a:t> in Boxford (UK)</a:t>
            </a:r>
            <a:endParaRPr lang="aa-ET" sz="2000" dirty="0">
              <a:latin typeface="Museo Sans 100" panose="02000000000000000000" pitchFamily="50" charset="0"/>
            </a:endParaRPr>
          </a:p>
          <a:p>
            <a:pPr>
              <a:spcAft>
                <a:spcPts val="1500"/>
              </a:spcAft>
            </a:pPr>
            <a:r>
              <a:rPr lang="en-GB" sz="2000" b="1" dirty="0">
                <a:solidFill>
                  <a:schemeClr val="accent1"/>
                </a:solidFill>
                <a:latin typeface="Museo Sans 900" panose="02000000000000000000" pitchFamily="50" charset="0"/>
              </a:rPr>
              <a:t>2018:</a:t>
            </a:r>
            <a:r>
              <a:rPr lang="en-GB" sz="2000" dirty="0">
                <a:latin typeface="Museo Sans 900" panose="02000000000000000000" pitchFamily="50" charset="0"/>
              </a:rPr>
              <a:t> </a:t>
            </a:r>
            <a:r>
              <a:rPr lang="en-GB" sz="2000" dirty="0" err="1">
                <a:latin typeface="Museo Sans 100" panose="02000000000000000000" pitchFamily="50" charset="0"/>
              </a:rPr>
              <a:t>Overname</a:t>
            </a:r>
            <a:r>
              <a:rPr lang="en-GB" sz="2000" dirty="0">
                <a:latin typeface="Museo Sans 100" panose="02000000000000000000" pitchFamily="50" charset="0"/>
              </a:rPr>
              <a:t> van de </a:t>
            </a:r>
            <a:r>
              <a:rPr lang="en-GB" sz="2000" dirty="0" err="1">
                <a:latin typeface="Museo Sans 100" panose="02000000000000000000" pitchFamily="50" charset="0"/>
              </a:rPr>
              <a:t>fabriek</a:t>
            </a:r>
            <a:r>
              <a:rPr lang="en-GB" sz="2000" dirty="0">
                <a:latin typeface="Museo Sans 100" panose="02000000000000000000" pitchFamily="50" charset="0"/>
              </a:rPr>
              <a:t> in </a:t>
            </a:r>
            <a:r>
              <a:rPr lang="en-GB" sz="2000" dirty="0" err="1">
                <a:latin typeface="Museo Sans 100" panose="02000000000000000000" pitchFamily="50" charset="0"/>
              </a:rPr>
              <a:t>Beaucaire</a:t>
            </a:r>
            <a:r>
              <a:rPr lang="en-GB" sz="2000" dirty="0">
                <a:latin typeface="Museo Sans 100" panose="02000000000000000000" pitchFamily="50" charset="0"/>
              </a:rPr>
              <a:t> (FR)</a:t>
            </a:r>
            <a:endParaRPr lang="nl-BE" sz="2000" dirty="0">
              <a:latin typeface="Museo Sans 100" panose="02000000000000000000" pitchFamily="50" charset="0"/>
            </a:endParaRPr>
          </a:p>
          <a:p>
            <a:pPr>
              <a:spcAft>
                <a:spcPts val="1500"/>
              </a:spcAft>
            </a:pPr>
            <a:r>
              <a:rPr lang="en-US" sz="2000" b="1" dirty="0">
                <a:solidFill>
                  <a:schemeClr val="accent1"/>
                </a:solidFill>
                <a:latin typeface="Museo Sans 900" panose="02000000000000000000" pitchFamily="50" charset="0"/>
              </a:rPr>
              <a:t>2020:</a:t>
            </a:r>
            <a:r>
              <a:rPr lang="en-US" sz="2000" dirty="0">
                <a:latin typeface="Museo Sans 900" panose="02000000000000000000" pitchFamily="50" charset="0"/>
              </a:rPr>
              <a:t> </a:t>
            </a:r>
            <a:r>
              <a:rPr lang="nl-BE" sz="2000" dirty="0">
                <a:latin typeface="Museo Sans 100" panose="02000000000000000000" pitchFamily="50" charset="0"/>
              </a:rPr>
              <a:t>Productie van ontsmettingsmiddel om de pandemie te bestrijden</a:t>
            </a:r>
          </a:p>
          <a:p>
            <a:pPr>
              <a:spcAft>
                <a:spcPts val="1500"/>
              </a:spcAft>
            </a:pPr>
            <a:r>
              <a:rPr lang="nl-BE" sz="2000" b="1" dirty="0">
                <a:solidFill>
                  <a:schemeClr val="accent1"/>
                </a:solidFill>
                <a:latin typeface="Museo Sans 900" panose="02000000000000000000" pitchFamily="50" charset="0"/>
              </a:rPr>
              <a:t>2021: </a:t>
            </a:r>
            <a:r>
              <a:rPr lang="nl-NL" sz="2000" dirty="0">
                <a:latin typeface="Museo Sans 100" panose="02000000000000000000" pitchFamily="50" charset="0"/>
              </a:rPr>
              <a:t>Instap van BNP Paribas Private </a:t>
            </a:r>
            <a:r>
              <a:rPr lang="nl-NL" sz="2000" dirty="0" err="1">
                <a:latin typeface="Museo Sans 100" panose="02000000000000000000" pitchFamily="50" charset="0"/>
              </a:rPr>
              <a:t>Equity</a:t>
            </a:r>
            <a:r>
              <a:rPr lang="nl-NL" sz="2000" dirty="0">
                <a:latin typeface="Museo Sans 100" panose="02000000000000000000" pitchFamily="50" charset="0"/>
              </a:rPr>
              <a:t> in het kapitaal</a:t>
            </a:r>
            <a:endParaRPr lang="aa-ET" sz="2000" dirty="0">
              <a:latin typeface="Museo Sans 100" panose="02000000000000000000" pitchFamily="50" charset="0"/>
            </a:endParaRPr>
          </a:p>
          <a:p>
            <a:pPr>
              <a:spcAft>
                <a:spcPts val="1500"/>
              </a:spcAft>
            </a:pPr>
            <a:r>
              <a:rPr lang="en-GB" sz="2000" b="1" dirty="0">
                <a:solidFill>
                  <a:schemeClr val="accent1"/>
                </a:solidFill>
                <a:latin typeface="Museo Sans 900" panose="02000000000000000000" pitchFamily="50" charset="0"/>
              </a:rPr>
              <a:t>2022:</a:t>
            </a:r>
            <a:r>
              <a:rPr lang="en-GB" sz="2000" dirty="0">
                <a:latin typeface="Museo Sans 100" panose="02000000000000000000" pitchFamily="50" charset="0"/>
              </a:rPr>
              <a:t> </a:t>
            </a:r>
            <a:r>
              <a:rPr lang="nl-BE" sz="2000" dirty="0">
                <a:latin typeface="Museo Sans 100" panose="02000000000000000000" pitchFamily="50" charset="0"/>
              </a:rPr>
              <a:t>Start met de bouw van een nieuwe fabriek in Genk (90k blikjes per uur)</a:t>
            </a:r>
            <a:endParaRPr lang="en-GB" sz="1400" dirty="0">
              <a:solidFill>
                <a:schemeClr val="accent2"/>
              </a:solidFill>
              <a:latin typeface="Museo Sans 100" panose="02000000000000000000" pitchFamily="50" charset="0"/>
            </a:endParaRPr>
          </a:p>
        </p:txBody>
      </p:sp>
      <p:pic>
        <p:nvPicPr>
          <p:cNvPr id="30" name="Picture Placeholder 29" descr="A picture containing factory, outdoor, building, city&#10;&#10;Description automatically generated">
            <a:extLst>
              <a:ext uri="{FF2B5EF4-FFF2-40B4-BE49-F238E27FC236}">
                <a16:creationId xmlns:a16="http://schemas.microsoft.com/office/drawing/2014/main" id="{E8B503D3-7031-4F8F-8EF7-76CF276B4C3C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90" r="9201"/>
          <a:stretch/>
        </p:blipFill>
        <p:spPr>
          <a:xfrm>
            <a:off x="5091151" y="0"/>
            <a:ext cx="7100849" cy="6858000"/>
          </a:xfrm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59E9D12-5F83-4406-9334-F134AFDFFA38}"/>
              </a:ext>
            </a:extLst>
          </p:cNvPr>
          <p:cNvCxnSpPr>
            <a:cxnSpLocks/>
          </p:cNvCxnSpPr>
          <p:nvPr/>
        </p:nvCxnSpPr>
        <p:spPr>
          <a:xfrm>
            <a:off x="731210" y="2191069"/>
            <a:ext cx="0" cy="4666931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BFCB6052-0593-4D22-AC62-04F500917212}"/>
              </a:ext>
            </a:extLst>
          </p:cNvPr>
          <p:cNvSpPr txBox="1"/>
          <p:nvPr/>
        </p:nvSpPr>
        <p:spPr>
          <a:xfrm>
            <a:off x="601574" y="659198"/>
            <a:ext cx="6215786" cy="93076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84000"/>
              </a:lnSpc>
            </a:pPr>
            <a:r>
              <a:rPr lang="nl-BE" sz="3600" dirty="0">
                <a:solidFill>
                  <a:srgbClr val="1E377D"/>
                </a:solidFill>
                <a:latin typeface="Museo Sans 100" panose="02000000000000000000" pitchFamily="50" charset="0"/>
              </a:rPr>
              <a:t>Geschiedenis</a:t>
            </a:r>
            <a:endParaRPr lang="aa-ET" sz="3600" dirty="0">
              <a:solidFill>
                <a:srgbClr val="1E377D"/>
              </a:solidFill>
              <a:latin typeface="Museo 100" panose="02000000000000000000" pitchFamily="50" charset="0"/>
            </a:endParaRPr>
          </a:p>
          <a:p>
            <a:pPr>
              <a:lnSpc>
                <a:spcPct val="84000"/>
              </a:lnSpc>
            </a:pPr>
            <a:r>
              <a:rPr lang="aa-ET" sz="3600" b="1" dirty="0">
                <a:solidFill>
                  <a:srgbClr val="1E377D"/>
                </a:solidFill>
                <a:latin typeface="Museo Sans 900" panose="02000000000000000000" pitchFamily="50" charset="0"/>
              </a:rPr>
              <a:t>Konings </a:t>
            </a:r>
            <a:r>
              <a:rPr lang="nl-BE" sz="3600" b="1" dirty="0">
                <a:solidFill>
                  <a:srgbClr val="1E377D"/>
                </a:solidFill>
                <a:latin typeface="Museo Sans 900" panose="02000000000000000000" pitchFamily="50" charset="0"/>
              </a:rPr>
              <a:t>door de jaren heen</a:t>
            </a:r>
            <a:endParaRPr lang="en-GB" sz="3600" b="1" dirty="0">
              <a:solidFill>
                <a:srgbClr val="1E377D"/>
              </a:solidFill>
              <a:latin typeface="Museo Sans 900" panose="02000000000000000000" pitchFamily="50" charset="0"/>
            </a:endParaRPr>
          </a:p>
        </p:txBody>
      </p:sp>
      <p:pic>
        <p:nvPicPr>
          <p:cNvPr id="20" name="Afbeelding 19">
            <a:extLst>
              <a:ext uri="{FF2B5EF4-FFF2-40B4-BE49-F238E27FC236}">
                <a16:creationId xmlns:a16="http://schemas.microsoft.com/office/drawing/2014/main" id="{5D091AC3-AC8F-C48A-55F0-EF3A85A3152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2597" y="6152322"/>
            <a:ext cx="465676" cy="480312"/>
          </a:xfrm>
          <a:prstGeom prst="rect">
            <a:avLst/>
          </a:prstGeom>
        </p:spPr>
      </p:pic>
      <p:sp>
        <p:nvSpPr>
          <p:cNvPr id="22" name="Rechthoek 21">
            <a:extLst>
              <a:ext uri="{FF2B5EF4-FFF2-40B4-BE49-F238E27FC236}">
                <a16:creationId xmlns:a16="http://schemas.microsoft.com/office/drawing/2014/main" id="{2155E9DD-ACF5-CD16-B8E5-46E588205B87}"/>
              </a:ext>
            </a:extLst>
          </p:cNvPr>
          <p:cNvSpPr/>
          <p:nvPr/>
        </p:nvSpPr>
        <p:spPr>
          <a:xfrm flipV="1">
            <a:off x="0" y="825911"/>
            <a:ext cx="511277" cy="45719"/>
          </a:xfrm>
          <a:prstGeom prst="rect">
            <a:avLst/>
          </a:prstGeom>
          <a:solidFill>
            <a:srgbClr val="FAA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0165163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1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1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1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5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75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25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75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25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75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250"/>
                            </p:stCondLst>
                            <p:childTnLst>
                              <p:par>
                                <p:cTn id="4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4750"/>
                            </p:stCondLst>
                            <p:childTnLst>
                              <p:par>
                                <p:cTn id="4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250"/>
                            </p:stCondLst>
                            <p:childTnLst>
                              <p:par>
                                <p:cTn id="5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750"/>
                            </p:stCondLst>
                            <p:childTnLst>
                              <p:par>
                                <p:cTn id="5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6250"/>
                            </p:stCondLst>
                            <p:childTnLst>
                              <p:par>
                                <p:cTn id="6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/>
      <p:bldP spid="16" grpId="0"/>
      <p:bldP spid="2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98749CF-F7C9-4B15-B014-78F0487C9823}"/>
              </a:ext>
            </a:extLst>
          </p:cNvPr>
          <p:cNvSpPr txBox="1"/>
          <p:nvPr/>
        </p:nvSpPr>
        <p:spPr>
          <a:xfrm>
            <a:off x="637200" y="1196752"/>
            <a:ext cx="4896826" cy="2091544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pPr>
              <a:lnSpc>
                <a:spcPct val="84000"/>
              </a:lnSpc>
            </a:pPr>
            <a:r>
              <a:rPr lang="en-GB" sz="3600" dirty="0" err="1">
                <a:solidFill>
                  <a:srgbClr val="203E84"/>
                </a:solidFill>
                <a:latin typeface="Museo Sans 100" panose="02000000000000000000" pitchFamily="50" charset="0"/>
              </a:rPr>
              <a:t>Ontmoet</a:t>
            </a:r>
            <a:r>
              <a:rPr lang="en-GB" sz="3600" dirty="0">
                <a:solidFill>
                  <a:srgbClr val="203E84"/>
                </a:solidFill>
                <a:latin typeface="Museo Sans 100" panose="02000000000000000000" pitchFamily="50" charset="0"/>
              </a:rPr>
              <a:t> </a:t>
            </a:r>
            <a:r>
              <a:rPr lang="en-GB" sz="3600" dirty="0" err="1">
                <a:solidFill>
                  <a:srgbClr val="203E84"/>
                </a:solidFill>
                <a:latin typeface="Museo Sans 100" panose="02000000000000000000" pitchFamily="50" charset="0"/>
              </a:rPr>
              <a:t>ons</a:t>
            </a:r>
            <a:r>
              <a:rPr lang="en-GB" sz="3600" dirty="0">
                <a:solidFill>
                  <a:srgbClr val="203E84"/>
                </a:solidFill>
                <a:latin typeface="Museo Sans 100" panose="02000000000000000000" pitchFamily="50" charset="0"/>
              </a:rPr>
              <a:t> </a:t>
            </a:r>
            <a:r>
              <a:rPr lang="en-GB" sz="3600" dirty="0" err="1">
                <a:solidFill>
                  <a:srgbClr val="203E84"/>
                </a:solidFill>
                <a:latin typeface="Museo Sans 100" panose="02000000000000000000" pitchFamily="50" charset="0"/>
              </a:rPr>
              <a:t>bestuur</a:t>
            </a:r>
            <a:r>
              <a:rPr lang="aa-ET" sz="3600" dirty="0">
                <a:solidFill>
                  <a:srgbClr val="203E84"/>
                </a:solidFill>
                <a:latin typeface="Museo Sans 100" panose="02000000000000000000" pitchFamily="50" charset="0"/>
              </a:rPr>
              <a:t>: </a:t>
            </a:r>
            <a:br>
              <a:rPr lang="aa-ET" sz="3600" dirty="0">
                <a:latin typeface="Museo 100" panose="02000000000000000000" pitchFamily="50" charset="0"/>
              </a:rPr>
            </a:br>
            <a:r>
              <a:rPr lang="aa-ET" sz="3600" dirty="0">
                <a:solidFill>
                  <a:srgbClr val="1E377D"/>
                </a:solidFill>
                <a:latin typeface="Museo Sans 900" panose="02000000000000000000" pitchFamily="50" charset="0"/>
              </a:rPr>
              <a:t>2 </a:t>
            </a:r>
            <a:r>
              <a:rPr lang="nl-BE" sz="3600" dirty="0">
                <a:solidFill>
                  <a:srgbClr val="1E377D"/>
                </a:solidFill>
                <a:latin typeface="Museo Sans 900" panose="02000000000000000000" pitchFamily="50" charset="0"/>
              </a:rPr>
              <a:t>eeuwen ervaring samen gebracht</a:t>
            </a:r>
            <a:endParaRPr lang="en-GB" sz="3600" dirty="0">
              <a:solidFill>
                <a:srgbClr val="1E377D"/>
              </a:solidFill>
              <a:latin typeface="Museo Sans 900" panose="02000000000000000000" pitchFamily="50" charset="0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CB261E7-23FB-4665-9F78-07924573A6C9}"/>
              </a:ext>
            </a:extLst>
          </p:cNvPr>
          <p:cNvSpPr txBox="1">
            <a:spLocks/>
          </p:cNvSpPr>
          <p:nvPr/>
        </p:nvSpPr>
        <p:spPr>
          <a:xfrm>
            <a:off x="551384" y="5373216"/>
            <a:ext cx="1872000" cy="471600"/>
          </a:xfrm>
          <a:prstGeom prst="rect">
            <a:avLst/>
          </a:prstGeom>
        </p:spPr>
        <p:txBody>
          <a:bodyPr lIns="0" tIns="0" rIns="0" bIns="0"/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700"/>
              </a:spcAft>
              <a:buFont typeface="Arial" panose="020B0604020202020204" pitchFamily="34" charset="0"/>
              <a:buNone/>
              <a:defRPr sz="23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GB" sz="1800" dirty="0">
                <a:solidFill>
                  <a:srgbClr val="1E377D"/>
                </a:solidFill>
                <a:latin typeface="Museo Sans 900" panose="02000000000000000000" pitchFamily="50" charset="0"/>
              </a:rPr>
              <a:t>Jos Rutten</a:t>
            </a:r>
          </a:p>
          <a:p>
            <a:pPr marL="0" lvl="1" indent="0" algn="ctr">
              <a:spcBef>
                <a:spcPts val="0"/>
              </a:spcBef>
              <a:buNone/>
            </a:pPr>
            <a:r>
              <a:rPr lang="nl-BE" sz="1400" dirty="0">
                <a:solidFill>
                  <a:srgbClr val="1E377D"/>
                </a:solidFill>
                <a:latin typeface="Museo Sans 100" panose="02000000000000000000" pitchFamily="50" charset="0"/>
              </a:rPr>
              <a:t>EIGENAAR</a:t>
            </a:r>
            <a:endParaRPr lang="en-GB" sz="1400" dirty="0">
              <a:solidFill>
                <a:srgbClr val="1E377D"/>
              </a:solidFill>
              <a:latin typeface="Museo Sans 100" panose="02000000000000000000" pitchFamily="50" charset="0"/>
            </a:endParaRPr>
          </a:p>
        </p:txBody>
      </p:sp>
      <p:pic>
        <p:nvPicPr>
          <p:cNvPr id="10" name="Picture Placeholder 33">
            <a:extLst>
              <a:ext uri="{FF2B5EF4-FFF2-40B4-BE49-F238E27FC236}">
                <a16:creationId xmlns:a16="http://schemas.microsoft.com/office/drawing/2014/main" id="{31D91B27-9786-4A6F-B005-5B7BE65D7E2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92" t="25362" r="2977" b="15394"/>
          <a:stretch/>
        </p:blipFill>
        <p:spPr>
          <a:xfrm>
            <a:off x="5998162" y="1239338"/>
            <a:ext cx="2118008" cy="2091544"/>
          </a:xfrm>
          <a:custGeom>
            <a:avLst/>
            <a:gdLst>
              <a:gd name="connsiteX0" fmla="*/ 988272 w 1877175"/>
              <a:gd name="connsiteY0" fmla="*/ 1482 h 1853720"/>
              <a:gd name="connsiteX1" fmla="*/ 1250836 w 1877175"/>
              <a:gd name="connsiteY1" fmla="*/ 4461 h 1853720"/>
              <a:gd name="connsiteX2" fmla="*/ 1876599 w 1877175"/>
              <a:gd name="connsiteY2" fmla="*/ 727064 h 1853720"/>
              <a:gd name="connsiteX3" fmla="*/ 1198701 w 1877175"/>
              <a:gd name="connsiteY3" fmla="*/ 1844483 h 1853720"/>
              <a:gd name="connsiteX4" fmla="*/ 103622 w 1877175"/>
              <a:gd name="connsiteY4" fmla="*/ 1121873 h 1853720"/>
              <a:gd name="connsiteX5" fmla="*/ 260066 w 1877175"/>
              <a:gd name="connsiteY5" fmla="*/ 302441 h 1853720"/>
              <a:gd name="connsiteX6" fmla="*/ 988272 w 1877175"/>
              <a:gd name="connsiteY6" fmla="*/ 1482 h 1853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77175" h="1853720">
                <a:moveTo>
                  <a:pt x="988272" y="1482"/>
                </a:moveTo>
                <a:cubicBezTo>
                  <a:pt x="1072579" y="-1725"/>
                  <a:pt x="1159581" y="738"/>
                  <a:pt x="1250836" y="4461"/>
                </a:cubicBezTo>
                <a:cubicBezTo>
                  <a:pt x="1615873" y="19367"/>
                  <a:pt x="1891493" y="309894"/>
                  <a:pt x="1876599" y="727064"/>
                </a:cubicBezTo>
                <a:cubicBezTo>
                  <a:pt x="1861693" y="1144233"/>
                  <a:pt x="1578619" y="1948778"/>
                  <a:pt x="1198701" y="1844483"/>
                </a:cubicBezTo>
                <a:cubicBezTo>
                  <a:pt x="818772" y="1740174"/>
                  <a:pt x="312213" y="1367699"/>
                  <a:pt x="103622" y="1121873"/>
                </a:cubicBezTo>
                <a:cubicBezTo>
                  <a:pt x="-104956" y="876054"/>
                  <a:pt x="29127" y="518473"/>
                  <a:pt x="260066" y="302441"/>
                </a:cubicBezTo>
                <a:cubicBezTo>
                  <a:pt x="506663" y="71747"/>
                  <a:pt x="735348" y="11103"/>
                  <a:pt x="988272" y="1482"/>
                </a:cubicBezTo>
                <a:close/>
              </a:path>
            </a:pathLst>
          </a:custGeom>
        </p:spPr>
      </p:pic>
      <p:pic>
        <p:nvPicPr>
          <p:cNvPr id="16" name="Picture Placeholder 35" descr="A person wearing glasses&#10;&#10;Description automatically generated with medium confidence">
            <a:extLst>
              <a:ext uri="{FF2B5EF4-FFF2-40B4-BE49-F238E27FC236}">
                <a16:creationId xmlns:a16="http://schemas.microsoft.com/office/drawing/2014/main" id="{AAA6DE36-9CBF-417F-A9D8-E809D3739F7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702" t="-2517" r="-11702" b="-2517"/>
          <a:stretch/>
        </p:blipFill>
        <p:spPr>
          <a:xfrm>
            <a:off x="2855640" y="3663836"/>
            <a:ext cx="1481198" cy="1571156"/>
          </a:xfrm>
          <a:custGeom>
            <a:avLst/>
            <a:gdLst>
              <a:gd name="connsiteX0" fmla="*/ 684327 w 1785905"/>
              <a:gd name="connsiteY0" fmla="*/ 112 h 1894371"/>
              <a:gd name="connsiteX1" fmla="*/ 1604022 w 1785905"/>
              <a:gd name="connsiteY1" fmla="*/ 474010 h 1894371"/>
              <a:gd name="connsiteX2" fmla="*/ 1552196 w 1785905"/>
              <a:gd name="connsiteY2" fmla="*/ 1428498 h 1894371"/>
              <a:gd name="connsiteX3" fmla="*/ 288332 w 1785905"/>
              <a:gd name="connsiteY3" fmla="*/ 1761395 h 1894371"/>
              <a:gd name="connsiteX4" fmla="*/ 2565 w 1785905"/>
              <a:gd name="connsiteY4" fmla="*/ 480887 h 1894371"/>
              <a:gd name="connsiteX5" fmla="*/ 684327 w 1785905"/>
              <a:gd name="connsiteY5" fmla="*/ 112 h 1894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85905" h="1894371">
                <a:moveTo>
                  <a:pt x="684327" y="112"/>
                </a:moveTo>
                <a:cubicBezTo>
                  <a:pt x="1134514" y="7250"/>
                  <a:pt x="1351793" y="209730"/>
                  <a:pt x="1604022" y="474010"/>
                </a:cubicBezTo>
                <a:cubicBezTo>
                  <a:pt x="1856253" y="738308"/>
                  <a:pt x="1852700" y="1138758"/>
                  <a:pt x="1552196" y="1428498"/>
                </a:cubicBezTo>
                <a:cubicBezTo>
                  <a:pt x="1251683" y="1718230"/>
                  <a:pt x="489173" y="2100332"/>
                  <a:pt x="288332" y="1761395"/>
                </a:cubicBezTo>
                <a:cubicBezTo>
                  <a:pt x="87493" y="1422440"/>
                  <a:pt x="-18152" y="802619"/>
                  <a:pt x="2565" y="480887"/>
                </a:cubicBezTo>
                <a:cubicBezTo>
                  <a:pt x="23287" y="159169"/>
                  <a:pt x="368135" y="-4911"/>
                  <a:pt x="684327" y="112"/>
                </a:cubicBezTo>
                <a:close/>
              </a:path>
            </a:pathLst>
          </a:custGeom>
          <a:solidFill>
            <a:srgbClr val="D6D2C9"/>
          </a:solidFill>
        </p:spPr>
      </p:pic>
      <p:pic>
        <p:nvPicPr>
          <p:cNvPr id="17" name="Picture Placeholder 33" descr="A person wearing glasses&#10;&#10;Description automatically generated with low confidence">
            <a:extLst>
              <a:ext uri="{FF2B5EF4-FFF2-40B4-BE49-F238E27FC236}">
                <a16:creationId xmlns:a16="http://schemas.microsoft.com/office/drawing/2014/main" id="{3BED6E3D-3C8F-4E9F-8226-5A441EA00AB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956" b="868"/>
          <a:stretch/>
        </p:blipFill>
        <p:spPr>
          <a:xfrm>
            <a:off x="695400" y="3680692"/>
            <a:ext cx="1556896" cy="1537442"/>
          </a:xfrm>
          <a:custGeom>
            <a:avLst/>
            <a:gdLst>
              <a:gd name="connsiteX0" fmla="*/ 988272 w 1877175"/>
              <a:gd name="connsiteY0" fmla="*/ 1482 h 1853720"/>
              <a:gd name="connsiteX1" fmla="*/ 1250836 w 1877175"/>
              <a:gd name="connsiteY1" fmla="*/ 4461 h 1853720"/>
              <a:gd name="connsiteX2" fmla="*/ 1876599 w 1877175"/>
              <a:gd name="connsiteY2" fmla="*/ 727064 h 1853720"/>
              <a:gd name="connsiteX3" fmla="*/ 1198701 w 1877175"/>
              <a:gd name="connsiteY3" fmla="*/ 1844483 h 1853720"/>
              <a:gd name="connsiteX4" fmla="*/ 103622 w 1877175"/>
              <a:gd name="connsiteY4" fmla="*/ 1121873 h 1853720"/>
              <a:gd name="connsiteX5" fmla="*/ 260066 w 1877175"/>
              <a:gd name="connsiteY5" fmla="*/ 302441 h 1853720"/>
              <a:gd name="connsiteX6" fmla="*/ 988272 w 1877175"/>
              <a:gd name="connsiteY6" fmla="*/ 1482 h 1853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77175" h="1853720">
                <a:moveTo>
                  <a:pt x="988272" y="1482"/>
                </a:moveTo>
                <a:cubicBezTo>
                  <a:pt x="1072579" y="-1725"/>
                  <a:pt x="1159581" y="738"/>
                  <a:pt x="1250836" y="4461"/>
                </a:cubicBezTo>
                <a:cubicBezTo>
                  <a:pt x="1615873" y="19367"/>
                  <a:pt x="1891493" y="309894"/>
                  <a:pt x="1876599" y="727064"/>
                </a:cubicBezTo>
                <a:cubicBezTo>
                  <a:pt x="1861693" y="1144233"/>
                  <a:pt x="1578619" y="1948778"/>
                  <a:pt x="1198701" y="1844483"/>
                </a:cubicBezTo>
                <a:cubicBezTo>
                  <a:pt x="818772" y="1740174"/>
                  <a:pt x="312213" y="1367699"/>
                  <a:pt x="103622" y="1121873"/>
                </a:cubicBezTo>
                <a:cubicBezTo>
                  <a:pt x="-104956" y="876054"/>
                  <a:pt x="29127" y="518473"/>
                  <a:pt x="260066" y="302441"/>
                </a:cubicBezTo>
                <a:cubicBezTo>
                  <a:pt x="506663" y="71747"/>
                  <a:pt x="735348" y="11103"/>
                  <a:pt x="988272" y="1482"/>
                </a:cubicBezTo>
                <a:close/>
              </a:path>
            </a:pathLst>
          </a:custGeom>
        </p:spPr>
      </p:pic>
      <p:pic>
        <p:nvPicPr>
          <p:cNvPr id="19" name="Picture Placeholder 39" descr="A picture containing person, person, wall, indoor&#10;&#10;Description automatically generated">
            <a:extLst>
              <a:ext uri="{FF2B5EF4-FFF2-40B4-BE49-F238E27FC236}">
                <a16:creationId xmlns:a16="http://schemas.microsoft.com/office/drawing/2014/main" id="{659376E5-AC29-4DBC-8C32-696C35CBC25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419" b="10419"/>
          <a:stretch>
            <a:fillRect/>
          </a:stretch>
        </p:blipFill>
        <p:spPr>
          <a:xfrm>
            <a:off x="4848128" y="3717032"/>
            <a:ext cx="1556896" cy="1537442"/>
          </a:xfrm>
          <a:custGeom>
            <a:avLst/>
            <a:gdLst>
              <a:gd name="connsiteX0" fmla="*/ 608417 w 1877175"/>
              <a:gd name="connsiteY0" fmla="*/ 17 h 1853720"/>
              <a:gd name="connsiteX1" fmla="*/ 678475 w 1877175"/>
              <a:gd name="connsiteY1" fmla="*/ 9238 h 1853720"/>
              <a:gd name="connsiteX2" fmla="*/ 1773554 w 1877175"/>
              <a:gd name="connsiteY2" fmla="*/ 731848 h 1853720"/>
              <a:gd name="connsiteX3" fmla="*/ 1617110 w 1877175"/>
              <a:gd name="connsiteY3" fmla="*/ 1551280 h 1853720"/>
              <a:gd name="connsiteX4" fmla="*/ 626340 w 1877175"/>
              <a:gd name="connsiteY4" fmla="*/ 1849260 h 1853720"/>
              <a:gd name="connsiteX5" fmla="*/ 577 w 1877175"/>
              <a:gd name="connsiteY5" fmla="*/ 1126657 h 1853720"/>
              <a:gd name="connsiteX6" fmla="*/ 608417 w 1877175"/>
              <a:gd name="connsiteY6" fmla="*/ 17 h 1853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77175" h="1853720">
                <a:moveTo>
                  <a:pt x="608417" y="17"/>
                </a:moveTo>
                <a:cubicBezTo>
                  <a:pt x="631364" y="-249"/>
                  <a:pt x="654730" y="2720"/>
                  <a:pt x="678475" y="9238"/>
                </a:cubicBezTo>
                <a:cubicBezTo>
                  <a:pt x="1058404" y="113547"/>
                  <a:pt x="1564963" y="486022"/>
                  <a:pt x="1773554" y="731848"/>
                </a:cubicBezTo>
                <a:cubicBezTo>
                  <a:pt x="1982132" y="977667"/>
                  <a:pt x="1848049" y="1335248"/>
                  <a:pt x="1617110" y="1551280"/>
                </a:cubicBezTo>
                <a:cubicBezTo>
                  <a:pt x="1288314" y="1858872"/>
                  <a:pt x="991362" y="1864154"/>
                  <a:pt x="626340" y="1849260"/>
                </a:cubicBezTo>
                <a:cubicBezTo>
                  <a:pt x="261303" y="1834354"/>
                  <a:pt x="-14317" y="1543827"/>
                  <a:pt x="577" y="1126657"/>
                </a:cubicBezTo>
                <a:cubicBezTo>
                  <a:pt x="14552" y="735561"/>
                  <a:pt x="264221" y="3998"/>
                  <a:pt x="608417" y="17"/>
                </a:cubicBezTo>
                <a:close/>
              </a:path>
            </a:pathLst>
          </a:custGeom>
        </p:spPr>
      </p:pic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40770A1-DCBB-4E9A-9917-0FF4E6BD698A}"/>
              </a:ext>
            </a:extLst>
          </p:cNvPr>
          <p:cNvSpPr txBox="1">
            <a:spLocks/>
          </p:cNvSpPr>
          <p:nvPr/>
        </p:nvSpPr>
        <p:spPr>
          <a:xfrm>
            <a:off x="2627768" y="5373216"/>
            <a:ext cx="1872000" cy="471600"/>
          </a:xfrm>
          <a:prstGeom prst="rect">
            <a:avLst/>
          </a:prstGeom>
        </p:spPr>
        <p:txBody>
          <a:bodyPr lIns="0" tIns="0" rIns="0" bIns="0"/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700"/>
              </a:spcAft>
              <a:buFont typeface="Arial" panose="020B0604020202020204" pitchFamily="34" charset="0"/>
              <a:buNone/>
              <a:defRPr sz="23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GB" sz="1800" dirty="0">
                <a:latin typeface="Museo Sans 900" panose="02000000000000000000" pitchFamily="50" charset="0"/>
              </a:rPr>
              <a:t>J</a:t>
            </a:r>
            <a:r>
              <a:rPr lang="aa-ET" sz="1800" dirty="0" err="1">
                <a:latin typeface="Museo Sans 900" panose="02000000000000000000" pitchFamily="50" charset="0"/>
              </a:rPr>
              <a:t>ef</a:t>
            </a:r>
            <a:r>
              <a:rPr lang="en-GB" sz="1800" dirty="0">
                <a:latin typeface="Museo Sans 900" panose="02000000000000000000" pitchFamily="50" charset="0"/>
              </a:rPr>
              <a:t> </a:t>
            </a:r>
            <a:r>
              <a:rPr lang="aa-ET" sz="1800" dirty="0">
                <a:latin typeface="Museo Sans 900" panose="02000000000000000000" pitchFamily="50" charset="0"/>
              </a:rPr>
              <a:t>Moors</a:t>
            </a:r>
            <a:endParaRPr lang="en-GB" sz="1800" dirty="0">
              <a:latin typeface="Museo Sans 900" panose="02000000000000000000" pitchFamily="50" charset="0"/>
            </a:endParaRPr>
          </a:p>
          <a:p>
            <a:pPr marL="0" lvl="1" indent="0" algn="ctr">
              <a:spcBef>
                <a:spcPts val="0"/>
              </a:spcBef>
              <a:buNone/>
            </a:pPr>
            <a:r>
              <a:rPr lang="nl-BE" sz="1400" dirty="0">
                <a:solidFill>
                  <a:srgbClr val="1E377D"/>
                </a:solidFill>
                <a:latin typeface="Museo Sans 100" panose="02000000000000000000" pitchFamily="50" charset="0"/>
              </a:rPr>
              <a:t>EIGENAAR</a:t>
            </a:r>
            <a:endParaRPr lang="en-GB" sz="1400" dirty="0">
              <a:solidFill>
                <a:srgbClr val="1E377D"/>
              </a:solidFill>
              <a:latin typeface="Museo Sans 100" panose="02000000000000000000" pitchFamily="50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4917DBD-7F9C-4552-966A-D616ED5260CD}"/>
              </a:ext>
            </a:extLst>
          </p:cNvPr>
          <p:cNvSpPr txBox="1">
            <a:spLocks/>
          </p:cNvSpPr>
          <p:nvPr/>
        </p:nvSpPr>
        <p:spPr>
          <a:xfrm>
            <a:off x="6789201" y="5313178"/>
            <a:ext cx="1872000" cy="471600"/>
          </a:xfrm>
          <a:prstGeom prst="rect">
            <a:avLst/>
          </a:prstGeom>
        </p:spPr>
        <p:txBody>
          <a:bodyPr lIns="0" tIns="0" rIns="0" bIns="0"/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700"/>
              </a:spcAft>
              <a:buFont typeface="Arial" panose="020B0604020202020204" pitchFamily="34" charset="0"/>
              <a:buNone/>
              <a:defRPr sz="23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aa-ET" sz="1800" dirty="0">
                <a:solidFill>
                  <a:srgbClr val="1E377D"/>
                </a:solidFill>
                <a:latin typeface="Museo Sans 900" panose="02000000000000000000" pitchFamily="50" charset="0"/>
              </a:rPr>
              <a:t>Dirk</a:t>
            </a:r>
            <a:r>
              <a:rPr lang="en-GB" sz="1800" dirty="0">
                <a:solidFill>
                  <a:srgbClr val="1E377D"/>
                </a:solidFill>
                <a:latin typeface="Museo Sans 900" panose="02000000000000000000" pitchFamily="50" charset="0"/>
              </a:rPr>
              <a:t> </a:t>
            </a:r>
            <a:r>
              <a:rPr lang="aa-ET" sz="1800" dirty="0">
                <a:solidFill>
                  <a:srgbClr val="1E377D"/>
                </a:solidFill>
                <a:latin typeface="Museo Sans 900" panose="02000000000000000000" pitchFamily="50" charset="0"/>
              </a:rPr>
              <a:t>Maris</a:t>
            </a:r>
            <a:endParaRPr lang="en-GB" sz="1800" dirty="0">
              <a:solidFill>
                <a:srgbClr val="1E377D"/>
              </a:solidFill>
              <a:latin typeface="Museo Sans 900" panose="02000000000000000000" pitchFamily="50" charset="0"/>
            </a:endParaRPr>
          </a:p>
          <a:p>
            <a:pPr marL="0" lvl="1" indent="0" algn="ctr">
              <a:spcBef>
                <a:spcPts val="0"/>
              </a:spcBef>
              <a:buNone/>
            </a:pPr>
            <a:r>
              <a:rPr lang="nl-BE" sz="1400" dirty="0">
                <a:solidFill>
                  <a:srgbClr val="1E377D"/>
                </a:solidFill>
                <a:latin typeface="Museo Sans 100" panose="02000000000000000000" pitchFamily="50" charset="0"/>
              </a:rPr>
              <a:t>EIGENAAR</a:t>
            </a:r>
            <a:endParaRPr lang="en-GB" sz="1400" dirty="0">
              <a:solidFill>
                <a:srgbClr val="1E377D"/>
              </a:solidFill>
              <a:latin typeface="Museo Sans 100" panose="02000000000000000000" pitchFamily="50" charset="0"/>
            </a:endParaRPr>
          </a:p>
          <a:p>
            <a:pPr marL="0" lvl="1" indent="0" algn="ctr">
              <a:spcBef>
                <a:spcPts val="0"/>
              </a:spcBef>
              <a:buNone/>
            </a:pPr>
            <a:endParaRPr lang="en-GB" sz="1400" b="1" dirty="0">
              <a:solidFill>
                <a:srgbClr val="1E377D"/>
              </a:solidFill>
              <a:latin typeface="Museo 900" panose="02000000000000000000" pitchFamily="50" charset="0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00A4AB1-2513-4472-AA28-49FAB704B1E7}"/>
              </a:ext>
            </a:extLst>
          </p:cNvPr>
          <p:cNvSpPr txBox="1">
            <a:spLocks/>
          </p:cNvSpPr>
          <p:nvPr/>
        </p:nvSpPr>
        <p:spPr>
          <a:xfrm>
            <a:off x="4708250" y="5349518"/>
            <a:ext cx="1872000" cy="471600"/>
          </a:xfrm>
          <a:prstGeom prst="rect">
            <a:avLst/>
          </a:prstGeom>
        </p:spPr>
        <p:txBody>
          <a:bodyPr lIns="0" tIns="0" rIns="0" bIns="0"/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700"/>
              </a:spcAft>
              <a:buFont typeface="Arial" panose="020B0604020202020204" pitchFamily="34" charset="0"/>
              <a:buNone/>
              <a:defRPr sz="23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aa-ET" sz="1800" dirty="0">
                <a:solidFill>
                  <a:srgbClr val="1E377D"/>
                </a:solidFill>
                <a:latin typeface="Museo Sans 900" panose="02000000000000000000" pitchFamily="50" charset="0"/>
              </a:rPr>
              <a:t>Luc</a:t>
            </a:r>
            <a:r>
              <a:rPr lang="en-GB" sz="1800" dirty="0">
                <a:solidFill>
                  <a:srgbClr val="1E377D"/>
                </a:solidFill>
                <a:latin typeface="Museo Sans 900" panose="02000000000000000000" pitchFamily="50" charset="0"/>
              </a:rPr>
              <a:t> </a:t>
            </a:r>
            <a:r>
              <a:rPr lang="aa-ET" sz="1800" dirty="0" err="1">
                <a:solidFill>
                  <a:srgbClr val="1E377D"/>
                </a:solidFill>
                <a:latin typeface="Museo Sans 900" panose="02000000000000000000" pitchFamily="50" charset="0"/>
              </a:rPr>
              <a:t>Nulens</a:t>
            </a:r>
            <a:endParaRPr lang="en-GB" sz="1800" dirty="0">
              <a:solidFill>
                <a:srgbClr val="1E377D"/>
              </a:solidFill>
              <a:latin typeface="Museo Sans 900" panose="02000000000000000000" pitchFamily="50" charset="0"/>
            </a:endParaRPr>
          </a:p>
          <a:p>
            <a:pPr marL="0" lvl="1" indent="0" algn="ctr">
              <a:spcBef>
                <a:spcPts val="0"/>
              </a:spcBef>
              <a:buNone/>
            </a:pPr>
            <a:r>
              <a:rPr lang="nl-BE" sz="1400" dirty="0">
                <a:solidFill>
                  <a:srgbClr val="1E377D"/>
                </a:solidFill>
                <a:latin typeface="Museo Sans 100" panose="02000000000000000000" pitchFamily="50" charset="0"/>
              </a:rPr>
              <a:t>EIGENAAR</a:t>
            </a:r>
            <a:endParaRPr lang="en-GB" sz="1400" dirty="0">
              <a:solidFill>
                <a:srgbClr val="1E377D"/>
              </a:solidFill>
              <a:latin typeface="Museo Sans 100" panose="02000000000000000000" pitchFamily="50" charset="0"/>
            </a:endParaRP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40ABD57F-947C-413E-9951-D6A0EA04D2D4}"/>
              </a:ext>
            </a:extLst>
          </p:cNvPr>
          <p:cNvSpPr txBox="1">
            <a:spLocks/>
          </p:cNvSpPr>
          <p:nvPr/>
        </p:nvSpPr>
        <p:spPr>
          <a:xfrm>
            <a:off x="7787902" y="899415"/>
            <a:ext cx="1401472" cy="1374884"/>
          </a:xfrm>
          <a:custGeom>
            <a:avLst/>
            <a:gdLst>
              <a:gd name="connsiteX0" fmla="*/ 1192235 w 1770993"/>
              <a:gd name="connsiteY0" fmla="*/ 1 h 1737395"/>
              <a:gd name="connsiteX1" fmla="*/ 1711452 w 1770993"/>
              <a:gd name="connsiteY1" fmla="*/ 461230 h 1737395"/>
              <a:gd name="connsiteX2" fmla="*/ 1770993 w 1770993"/>
              <a:gd name="connsiteY2" fmla="*/ 796329 h 1737395"/>
              <a:gd name="connsiteX3" fmla="*/ 1770993 w 1770993"/>
              <a:gd name="connsiteY3" fmla="*/ 798377 h 1737395"/>
              <a:gd name="connsiteX4" fmla="*/ 1582303 w 1770993"/>
              <a:gd name="connsiteY4" fmla="*/ 1408787 h 1737395"/>
              <a:gd name="connsiteX5" fmla="*/ 734674 w 1770993"/>
              <a:gd name="connsiteY5" fmla="*/ 1658132 h 1737395"/>
              <a:gd name="connsiteX6" fmla="*/ 54655 w 1770993"/>
              <a:gd name="connsiteY6" fmla="*/ 659626 h 1737395"/>
              <a:gd name="connsiteX7" fmla="*/ 1082183 w 1770993"/>
              <a:gd name="connsiteY7" fmla="*/ 15555 h 1737395"/>
              <a:gd name="connsiteX8" fmla="*/ 1192235 w 1770993"/>
              <a:gd name="connsiteY8" fmla="*/ 1 h 1737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70993" h="1737395">
                <a:moveTo>
                  <a:pt x="1192235" y="1"/>
                </a:moveTo>
                <a:cubicBezTo>
                  <a:pt x="1431322" y="-18"/>
                  <a:pt x="1630423" y="220314"/>
                  <a:pt x="1711452" y="461230"/>
                </a:cubicBezTo>
                <a:cubicBezTo>
                  <a:pt x="1753076" y="584998"/>
                  <a:pt x="1770879" y="694707"/>
                  <a:pt x="1770993" y="796329"/>
                </a:cubicBezTo>
                <a:lnTo>
                  <a:pt x="1770993" y="798377"/>
                </a:lnTo>
                <a:cubicBezTo>
                  <a:pt x="1770736" y="1019700"/>
                  <a:pt x="1686601" y="1202656"/>
                  <a:pt x="1582303" y="1408787"/>
                </a:cubicBezTo>
                <a:cubicBezTo>
                  <a:pt x="1429845" y="1710091"/>
                  <a:pt x="1079830" y="1830563"/>
                  <a:pt x="734674" y="1658132"/>
                </a:cubicBezTo>
                <a:cubicBezTo>
                  <a:pt x="389497" y="1485691"/>
                  <a:pt x="-178688" y="939214"/>
                  <a:pt x="54655" y="659626"/>
                </a:cubicBezTo>
                <a:cubicBezTo>
                  <a:pt x="287999" y="380058"/>
                  <a:pt x="795462" y="96756"/>
                  <a:pt x="1082183" y="15555"/>
                </a:cubicBezTo>
                <a:cubicBezTo>
                  <a:pt x="1117968" y="5307"/>
                  <a:pt x="1155011" y="73"/>
                  <a:pt x="1192235" y="1"/>
                </a:cubicBezTo>
                <a:close/>
              </a:path>
            </a:pathLst>
          </a:custGeom>
          <a:gradFill>
            <a:gsLst>
              <a:gs pos="40000">
                <a:schemeClr val="accent1"/>
              </a:gs>
              <a:gs pos="100000">
                <a:schemeClr val="accent3"/>
              </a:gs>
            </a:gsLst>
            <a:lin ang="5400000" scaled="1"/>
          </a:gradFill>
        </p:spPr>
        <p:txBody>
          <a:bodyPr lIns="180000" tIns="90000" rIns="90000" anchor="ctr" anchorCtr="0"/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700"/>
              </a:spcAft>
              <a:buFont typeface="Arial" panose="020B0604020202020204" pitchFamily="34" charset="0"/>
              <a:buNone/>
              <a:defRPr sz="23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4000"/>
              </a:lnSpc>
              <a:spcBef>
                <a:spcPts val="0"/>
              </a:spcBef>
              <a:buNone/>
            </a:pPr>
            <a:r>
              <a:rPr lang="en-GB" sz="1600" dirty="0">
                <a:latin typeface="Museo Sans 900" panose="02000000000000000000" pitchFamily="50" charset="0"/>
              </a:rPr>
              <a:t>Inge </a:t>
            </a:r>
            <a:br>
              <a:rPr lang="aa-ET" sz="1600" dirty="0">
                <a:latin typeface="Museo Sans 900" panose="02000000000000000000" pitchFamily="50" charset="0"/>
              </a:rPr>
            </a:br>
            <a:r>
              <a:rPr lang="en-GB" sz="1600" dirty="0" err="1">
                <a:latin typeface="Museo Sans 900" panose="02000000000000000000" pitchFamily="50" charset="0"/>
              </a:rPr>
              <a:t>Plochaet</a:t>
            </a:r>
            <a:endParaRPr lang="en-GB" sz="1600" dirty="0">
              <a:latin typeface="Museo Sans 900" panose="02000000000000000000" pitchFamily="50" charset="0"/>
            </a:endParaRPr>
          </a:p>
          <a:p>
            <a:pPr marL="0" lvl="1" indent="0" algn="ctr">
              <a:spcBef>
                <a:spcPts val="0"/>
              </a:spcBef>
              <a:buNone/>
            </a:pPr>
            <a:r>
              <a:rPr lang="nl-BE" sz="1200" spc="100" dirty="0">
                <a:solidFill>
                  <a:srgbClr val="1E377D"/>
                </a:solidFill>
                <a:latin typeface="Museo Sans 100" panose="02000000000000000000" pitchFamily="50" charset="0"/>
              </a:rPr>
              <a:t>VOORZITTER</a:t>
            </a:r>
            <a:endParaRPr lang="en-GB" sz="1200" spc="100" dirty="0">
              <a:solidFill>
                <a:srgbClr val="1E377D"/>
              </a:solidFill>
              <a:latin typeface="Museo Sans 100" panose="02000000000000000000" pitchFamily="50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624C21C-E3CF-400A-B6E0-E90D7356DA88}"/>
              </a:ext>
            </a:extLst>
          </p:cNvPr>
          <p:cNvSpPr txBox="1"/>
          <p:nvPr/>
        </p:nvSpPr>
        <p:spPr>
          <a:xfrm>
            <a:off x="8332443" y="2440302"/>
            <a:ext cx="3030443" cy="737007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indent="0">
              <a:buNone/>
            </a:pPr>
            <a:r>
              <a:rPr lang="en-US" sz="1400" dirty="0" err="1">
                <a:latin typeface="Museo Sans 100" panose="02000000000000000000" pitchFamily="50" charset="0"/>
              </a:rPr>
              <a:t>Niet-uitvoerend</a:t>
            </a:r>
            <a:r>
              <a:rPr lang="en-US" sz="1400" dirty="0">
                <a:latin typeface="Museo Sans 100" panose="02000000000000000000" pitchFamily="50" charset="0"/>
              </a:rPr>
              <a:t> </a:t>
            </a:r>
            <a:r>
              <a:rPr lang="en-US" sz="1400" dirty="0" err="1">
                <a:latin typeface="Museo Sans 100" panose="02000000000000000000" pitchFamily="50" charset="0"/>
              </a:rPr>
              <a:t>Bestuurder</a:t>
            </a:r>
            <a:r>
              <a:rPr lang="en-US" sz="1400" dirty="0">
                <a:latin typeface="Museo Sans 100" panose="02000000000000000000" pitchFamily="50" charset="0"/>
              </a:rPr>
              <a:t> (Colmar),</a:t>
            </a:r>
            <a:r>
              <a:rPr lang="aa-ET" sz="1400" dirty="0">
                <a:latin typeface="Museo Sans 100" panose="02000000000000000000" pitchFamily="50" charset="0"/>
              </a:rPr>
              <a:t> </a:t>
            </a:r>
            <a:r>
              <a:rPr lang="nl-BE" sz="1400" dirty="0">
                <a:latin typeface="Museo Sans 100" panose="02000000000000000000" pitchFamily="50" charset="0"/>
              </a:rPr>
              <a:t>Voorzitter van de Raad van Bestuur van Konings</a:t>
            </a:r>
            <a:r>
              <a:rPr lang="en-US" sz="1400" dirty="0">
                <a:latin typeface="Museo Sans 100" panose="02000000000000000000" pitchFamily="50" charset="0"/>
              </a:rPr>
              <a:t>, </a:t>
            </a:r>
            <a:r>
              <a:rPr lang="en-US" sz="1400" dirty="0" err="1">
                <a:latin typeface="Museo Sans 100" panose="02000000000000000000" pitchFamily="50" charset="0"/>
              </a:rPr>
              <a:t>Voorzitter</a:t>
            </a:r>
            <a:r>
              <a:rPr lang="en-US" sz="1400" dirty="0">
                <a:latin typeface="Museo Sans 100" panose="02000000000000000000" pitchFamily="50" charset="0"/>
              </a:rPr>
              <a:t> UKI (InBev)</a:t>
            </a:r>
            <a:endParaRPr lang="en-GB" sz="1400" dirty="0">
              <a:latin typeface="Museo Sans 100" panose="02000000000000000000" pitchFamily="50" charset="0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DB55C269-245F-4B2B-BC46-8FD17D3C65A5}"/>
              </a:ext>
            </a:extLst>
          </p:cNvPr>
          <p:cNvSpPr txBox="1">
            <a:spLocks/>
          </p:cNvSpPr>
          <p:nvPr/>
        </p:nvSpPr>
        <p:spPr>
          <a:xfrm>
            <a:off x="8727737" y="5332555"/>
            <a:ext cx="2624848" cy="471600"/>
          </a:xfrm>
          <a:prstGeom prst="rect">
            <a:avLst/>
          </a:prstGeom>
        </p:spPr>
        <p:txBody>
          <a:bodyPr lIns="0" tIns="0" rIns="0" bIns="0"/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700"/>
              </a:spcAft>
              <a:buFont typeface="Arial" panose="020B0604020202020204" pitchFamily="34" charset="0"/>
              <a:buNone/>
              <a:defRPr sz="23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nl-BE" sz="1800" dirty="0">
                <a:solidFill>
                  <a:srgbClr val="1E377D"/>
                </a:solidFill>
                <a:latin typeface="Museo Sans 900" panose="02000000000000000000" pitchFamily="50" charset="0"/>
              </a:rPr>
              <a:t>Sven Vermeulen</a:t>
            </a:r>
            <a:endParaRPr lang="en-GB" sz="1800" dirty="0">
              <a:solidFill>
                <a:srgbClr val="1E377D"/>
              </a:solidFill>
              <a:latin typeface="Museo Sans 900" panose="02000000000000000000" pitchFamily="50" charset="0"/>
            </a:endParaRPr>
          </a:p>
          <a:p>
            <a:pPr marL="0" lvl="1" indent="0" algn="ctr">
              <a:spcBef>
                <a:spcPts val="0"/>
              </a:spcBef>
              <a:buNone/>
            </a:pPr>
            <a:r>
              <a:rPr lang="nl-BE" sz="1400" dirty="0">
                <a:solidFill>
                  <a:srgbClr val="1E377D"/>
                </a:solidFill>
                <a:latin typeface="Museo Sans 100" panose="02000000000000000000" pitchFamily="50" charset="0"/>
              </a:rPr>
              <a:t>BNP Paribas Private </a:t>
            </a:r>
            <a:r>
              <a:rPr lang="nl-BE" sz="1400" dirty="0" err="1">
                <a:solidFill>
                  <a:srgbClr val="1E377D"/>
                </a:solidFill>
                <a:latin typeface="Museo Sans 100" panose="02000000000000000000" pitchFamily="50" charset="0"/>
              </a:rPr>
              <a:t>Equity</a:t>
            </a:r>
            <a:endParaRPr lang="nl-BE" sz="1400" dirty="0">
              <a:solidFill>
                <a:srgbClr val="1E377D"/>
              </a:solidFill>
              <a:latin typeface="Museo Sans 100" panose="02000000000000000000" pitchFamily="50" charset="0"/>
            </a:endParaRPr>
          </a:p>
          <a:p>
            <a:pPr marL="0" lvl="1" indent="0" algn="ctr">
              <a:spcBef>
                <a:spcPts val="0"/>
              </a:spcBef>
              <a:buNone/>
            </a:pPr>
            <a:r>
              <a:rPr lang="nl-BE" sz="1400" dirty="0">
                <a:solidFill>
                  <a:srgbClr val="1E377D"/>
                </a:solidFill>
                <a:latin typeface="Museo Sans 100" panose="02000000000000000000" pitchFamily="50" charset="0"/>
              </a:rPr>
              <a:t>Aandeelhouder</a:t>
            </a:r>
            <a:endParaRPr lang="en-GB" sz="1400" dirty="0">
              <a:solidFill>
                <a:srgbClr val="1E377D"/>
              </a:solidFill>
              <a:latin typeface="Museo Sans 100" panose="02000000000000000000" pitchFamily="50" charset="0"/>
            </a:endParaRPr>
          </a:p>
        </p:txBody>
      </p:sp>
      <p:pic>
        <p:nvPicPr>
          <p:cNvPr id="30" name="Picture Placeholder 20">
            <a:extLst>
              <a:ext uri="{FF2B5EF4-FFF2-40B4-BE49-F238E27FC236}">
                <a16:creationId xmlns:a16="http://schemas.microsoft.com/office/drawing/2014/main" id="{A73223EC-23C8-4ED5-BB10-F0B6AC22850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9" b="1029"/>
          <a:stretch>
            <a:fillRect/>
          </a:stretch>
        </p:blipFill>
        <p:spPr>
          <a:xfrm>
            <a:off x="8976320" y="3578848"/>
            <a:ext cx="1892476" cy="1779884"/>
          </a:xfrm>
          <a:custGeom>
            <a:avLst/>
            <a:gdLst>
              <a:gd name="connsiteX0" fmla="*/ 961170 w 1892476"/>
              <a:gd name="connsiteY0" fmla="*/ 1060 h 1779884"/>
              <a:gd name="connsiteX1" fmla="*/ 1443811 w 1892476"/>
              <a:gd name="connsiteY1" fmla="*/ 242709 h 1779884"/>
              <a:gd name="connsiteX2" fmla="*/ 1754599 w 1892476"/>
              <a:gd name="connsiteY2" fmla="*/ 1512190 h 1779884"/>
              <a:gd name="connsiteX3" fmla="*/ 469299 w 1892476"/>
              <a:gd name="connsiteY3" fmla="*/ 1775565 h 1779884"/>
              <a:gd name="connsiteX4" fmla="*/ 495 w 1892476"/>
              <a:gd name="connsiteY4" fmla="*/ 1085516 h 1779884"/>
              <a:gd name="connsiteX5" fmla="*/ 490372 w 1892476"/>
              <a:gd name="connsiteY5" fmla="*/ 174233 h 1779884"/>
              <a:gd name="connsiteX6" fmla="*/ 961170 w 1892476"/>
              <a:gd name="connsiteY6" fmla="*/ 1060 h 177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92476" h="1779884">
                <a:moveTo>
                  <a:pt x="961170" y="1060"/>
                </a:moveTo>
                <a:cubicBezTo>
                  <a:pt x="1130390" y="10937"/>
                  <a:pt x="1301585" y="89951"/>
                  <a:pt x="1443811" y="242709"/>
                </a:cubicBezTo>
                <a:cubicBezTo>
                  <a:pt x="1728254" y="548232"/>
                  <a:pt x="2096989" y="1317295"/>
                  <a:pt x="1754599" y="1512190"/>
                </a:cubicBezTo>
                <a:cubicBezTo>
                  <a:pt x="1412191" y="1707082"/>
                  <a:pt x="790620" y="1801894"/>
                  <a:pt x="469299" y="1775565"/>
                </a:cubicBezTo>
                <a:cubicBezTo>
                  <a:pt x="147992" y="1749232"/>
                  <a:pt x="-10045" y="1401573"/>
                  <a:pt x="495" y="1085516"/>
                </a:cubicBezTo>
                <a:cubicBezTo>
                  <a:pt x="15489" y="635522"/>
                  <a:pt x="221731" y="421810"/>
                  <a:pt x="490372" y="174233"/>
                </a:cubicBezTo>
                <a:cubicBezTo>
                  <a:pt x="624702" y="50443"/>
                  <a:pt x="791949" y="-8817"/>
                  <a:pt x="961170" y="1060"/>
                </a:cubicBezTo>
                <a:close/>
              </a:path>
            </a:pathLst>
          </a:custGeom>
        </p:spPr>
      </p:pic>
      <p:pic>
        <p:nvPicPr>
          <p:cNvPr id="25" name="Picture Placeholder 20">
            <a:extLst>
              <a:ext uri="{FF2B5EF4-FFF2-40B4-BE49-F238E27FC236}">
                <a16:creationId xmlns:a16="http://schemas.microsoft.com/office/drawing/2014/main" id="{62AA4CF7-C3C7-44D0-BCEF-7C3477E9BB6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37" r="14637"/>
          <a:stretch>
            <a:fillRect/>
          </a:stretch>
        </p:blipFill>
        <p:spPr>
          <a:xfrm>
            <a:off x="7032104" y="3722992"/>
            <a:ext cx="1425428" cy="1512000"/>
          </a:xfrm>
          <a:custGeom>
            <a:avLst/>
            <a:gdLst>
              <a:gd name="connsiteX0" fmla="*/ 684327 w 1785905"/>
              <a:gd name="connsiteY0" fmla="*/ 112 h 1894371"/>
              <a:gd name="connsiteX1" fmla="*/ 1604022 w 1785905"/>
              <a:gd name="connsiteY1" fmla="*/ 474010 h 1894371"/>
              <a:gd name="connsiteX2" fmla="*/ 1552196 w 1785905"/>
              <a:gd name="connsiteY2" fmla="*/ 1428498 h 1894371"/>
              <a:gd name="connsiteX3" fmla="*/ 288332 w 1785905"/>
              <a:gd name="connsiteY3" fmla="*/ 1761395 h 1894371"/>
              <a:gd name="connsiteX4" fmla="*/ 2565 w 1785905"/>
              <a:gd name="connsiteY4" fmla="*/ 480887 h 1894371"/>
              <a:gd name="connsiteX5" fmla="*/ 684327 w 1785905"/>
              <a:gd name="connsiteY5" fmla="*/ 112 h 1894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85905" h="1894371">
                <a:moveTo>
                  <a:pt x="684327" y="112"/>
                </a:moveTo>
                <a:cubicBezTo>
                  <a:pt x="1134514" y="7250"/>
                  <a:pt x="1351793" y="209730"/>
                  <a:pt x="1604022" y="474010"/>
                </a:cubicBezTo>
                <a:cubicBezTo>
                  <a:pt x="1856253" y="738308"/>
                  <a:pt x="1852700" y="1138758"/>
                  <a:pt x="1552196" y="1428498"/>
                </a:cubicBezTo>
                <a:cubicBezTo>
                  <a:pt x="1251683" y="1718230"/>
                  <a:pt x="489173" y="2100332"/>
                  <a:pt x="288332" y="1761395"/>
                </a:cubicBezTo>
                <a:cubicBezTo>
                  <a:pt x="87493" y="1422440"/>
                  <a:pt x="-18152" y="802619"/>
                  <a:pt x="2565" y="480887"/>
                </a:cubicBezTo>
                <a:cubicBezTo>
                  <a:pt x="23287" y="159169"/>
                  <a:pt x="368135" y="-4911"/>
                  <a:pt x="684327" y="112"/>
                </a:cubicBezTo>
                <a:close/>
              </a:path>
            </a:pathLst>
          </a:custGeom>
        </p:spPr>
      </p:pic>
      <p:pic>
        <p:nvPicPr>
          <p:cNvPr id="34" name="Afbeelding 33">
            <a:extLst>
              <a:ext uri="{FF2B5EF4-FFF2-40B4-BE49-F238E27FC236}">
                <a16:creationId xmlns:a16="http://schemas.microsoft.com/office/drawing/2014/main" id="{5858B0E6-4ECB-4AB2-3DBD-A42E11BB89B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2597" y="6152322"/>
            <a:ext cx="465676" cy="480312"/>
          </a:xfrm>
          <a:prstGeom prst="rect">
            <a:avLst/>
          </a:prstGeom>
        </p:spPr>
      </p:pic>
      <p:sp>
        <p:nvSpPr>
          <p:cNvPr id="35" name="Rechthoek 34">
            <a:extLst>
              <a:ext uri="{FF2B5EF4-FFF2-40B4-BE49-F238E27FC236}">
                <a16:creationId xmlns:a16="http://schemas.microsoft.com/office/drawing/2014/main" id="{06823FF5-5AEC-8746-830C-A138B5566012}"/>
              </a:ext>
            </a:extLst>
          </p:cNvPr>
          <p:cNvSpPr/>
          <p:nvPr/>
        </p:nvSpPr>
        <p:spPr>
          <a:xfrm flipV="1">
            <a:off x="0" y="1740311"/>
            <a:ext cx="511277" cy="45719"/>
          </a:xfrm>
          <a:prstGeom prst="rect">
            <a:avLst/>
          </a:prstGeom>
          <a:solidFill>
            <a:srgbClr val="FAA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5015210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3500"/>
                            </p:stCondLst>
                            <p:childTnLst>
                              <p:par>
                                <p:cTn id="5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4500"/>
                            </p:stCondLst>
                            <p:childTnLst>
                              <p:par>
                                <p:cTn id="6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500"/>
                            </p:stCondLst>
                            <p:childTnLst>
                              <p:par>
                                <p:cTn id="7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21" grpId="0"/>
      <p:bldP spid="22" grpId="0"/>
      <p:bldP spid="23" grpId="0"/>
      <p:bldP spid="26" grpId="0" animBg="1"/>
      <p:bldP spid="28" grpId="0"/>
      <p:bldP spid="29" grpId="0"/>
      <p:bldP spid="3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9A6452A-276D-4A01-B8EF-BDCDA836685C}"/>
              </a:ext>
            </a:extLst>
          </p:cNvPr>
          <p:cNvSpPr txBox="1">
            <a:spLocks/>
          </p:cNvSpPr>
          <p:nvPr/>
        </p:nvSpPr>
        <p:spPr>
          <a:xfrm>
            <a:off x="4295800" y="3677796"/>
            <a:ext cx="3127124" cy="1404567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 Light" panose="020F0302020204030204" pitchFamily="34" charset="0"/>
              <a:buNone/>
              <a:defRPr sz="2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 Light" panose="020F0302020204030204" pitchFamily="34" charset="0"/>
              <a:buNone/>
              <a:defRPr sz="2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6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9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700"/>
              </a:spcAft>
              <a:buFont typeface="Arial" panose="020B0604020202020204" pitchFamily="34" charset="0"/>
              <a:buNone/>
              <a:defRPr sz="23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nl-BE" sz="8000" b="1" dirty="0">
                <a:gradFill>
                  <a:gsLst>
                    <a:gs pos="4000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  <a:latin typeface="Museo Sans 900" panose="02000000000000000000" pitchFamily="50" charset="0"/>
              </a:rPr>
              <a:t>800</a:t>
            </a:r>
            <a:endParaRPr lang="aa-ET" sz="8000" b="1" dirty="0">
              <a:gradFill>
                <a:gsLst>
                  <a:gs pos="40000">
                    <a:schemeClr val="accent1"/>
                  </a:gs>
                  <a:gs pos="100000">
                    <a:schemeClr val="accent3"/>
                  </a:gs>
                </a:gsLst>
                <a:lin ang="0" scaled="0"/>
              </a:gradFill>
              <a:latin typeface="Museo Sans 900" panose="02000000000000000000" pitchFamily="50" charset="0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nl-BE" sz="1400" b="1" spc="200" dirty="0">
                <a:gradFill>
                  <a:gsLst>
                    <a:gs pos="4000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  <a:latin typeface="Museo Sans 900" panose="02000000000000000000" pitchFamily="50" charset="0"/>
              </a:rPr>
              <a:t>MEDEWERKERS</a:t>
            </a:r>
            <a:endParaRPr lang="en-GB" sz="1400" b="1" spc="200" dirty="0">
              <a:gradFill>
                <a:gsLst>
                  <a:gs pos="40000">
                    <a:schemeClr val="accent1"/>
                  </a:gs>
                  <a:gs pos="100000">
                    <a:schemeClr val="accent3"/>
                  </a:gs>
                </a:gsLst>
                <a:lin ang="0" scaled="0"/>
              </a:gradFill>
              <a:latin typeface="Museo Sans 900" panose="02000000000000000000" pitchFamily="50" charset="0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C75EC39-1123-4CA7-946D-5F5CF4975D32}"/>
              </a:ext>
            </a:extLst>
          </p:cNvPr>
          <p:cNvSpPr txBox="1">
            <a:spLocks/>
          </p:cNvSpPr>
          <p:nvPr/>
        </p:nvSpPr>
        <p:spPr>
          <a:xfrm>
            <a:off x="8472264" y="3619872"/>
            <a:ext cx="3255142" cy="1404567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 Light" panose="020F0302020204030204" pitchFamily="34" charset="0"/>
              <a:buNone/>
              <a:defRPr sz="2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 Light" panose="020F0302020204030204" pitchFamily="34" charset="0"/>
              <a:buNone/>
              <a:defRPr sz="2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6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9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700"/>
              </a:spcAft>
              <a:buFont typeface="Arial" panose="020B0604020202020204" pitchFamily="34" charset="0"/>
              <a:buNone/>
              <a:defRPr sz="23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nl-NL" sz="8000" b="1" dirty="0">
                <a:gradFill>
                  <a:gsLst>
                    <a:gs pos="4000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  <a:latin typeface="Museo Sans 900" panose="02000000000000000000" pitchFamily="50" charset="0"/>
              </a:rPr>
              <a:t>265</a:t>
            </a:r>
            <a:endParaRPr lang="aa-ET" sz="8000" b="1" dirty="0">
              <a:gradFill>
                <a:gsLst>
                  <a:gs pos="40000">
                    <a:schemeClr val="accent1"/>
                  </a:gs>
                  <a:gs pos="100000">
                    <a:schemeClr val="accent3"/>
                  </a:gs>
                </a:gsLst>
                <a:lin ang="0" scaled="0"/>
              </a:gradFill>
              <a:latin typeface="Museo Sans 900" panose="02000000000000000000" pitchFamily="50" charset="0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GB" sz="1400" b="1" spc="200" dirty="0">
                <a:gradFill>
                  <a:gsLst>
                    <a:gs pos="4000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  <a:latin typeface="Museo Sans 900" panose="02000000000000000000" pitchFamily="50" charset="0"/>
              </a:rPr>
              <a:t>GECONSOLIDEERDE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GB" sz="1400" b="1" spc="200" dirty="0">
                <a:gradFill>
                  <a:gsLst>
                    <a:gs pos="4000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  <a:latin typeface="Museo Sans 900" panose="02000000000000000000" pitchFamily="50" charset="0"/>
              </a:rPr>
              <a:t>OMZET </a:t>
            </a:r>
            <a:r>
              <a:rPr lang="nl-BE" sz="1400" b="1" spc="200" dirty="0">
                <a:gradFill>
                  <a:gsLst>
                    <a:gs pos="4000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  <a:latin typeface="Museo Sans 900" panose="02000000000000000000" pitchFamily="50" charset="0"/>
              </a:rPr>
              <a:t>2021</a:t>
            </a:r>
            <a:r>
              <a:rPr lang="aa-ET" sz="1400" b="1" spc="200" dirty="0">
                <a:gradFill>
                  <a:gsLst>
                    <a:gs pos="40000">
                      <a:schemeClr val="accent1"/>
                    </a:gs>
                    <a:gs pos="100000">
                      <a:schemeClr val="accent3"/>
                    </a:gs>
                  </a:gsLst>
                  <a:lin ang="0" scaled="0"/>
                </a:gradFill>
                <a:latin typeface="Museo Sans 900" panose="02000000000000000000" pitchFamily="50" charset="0"/>
              </a:rPr>
              <a:t>(M€)</a:t>
            </a:r>
            <a:endParaRPr lang="en-GB" sz="1400" b="1" spc="200" dirty="0">
              <a:gradFill>
                <a:gsLst>
                  <a:gs pos="40000">
                    <a:schemeClr val="accent1"/>
                  </a:gs>
                  <a:gs pos="100000">
                    <a:schemeClr val="accent3"/>
                  </a:gs>
                </a:gsLst>
                <a:lin ang="0" scaled="0"/>
              </a:gradFill>
              <a:latin typeface="Museo Sans 900" panose="02000000000000000000" pitchFamily="50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3B05BDB-40EE-4294-8810-928D1B21CA1C}"/>
              </a:ext>
            </a:extLst>
          </p:cNvPr>
          <p:cNvSpPr txBox="1">
            <a:spLocks/>
          </p:cNvSpPr>
          <p:nvPr/>
        </p:nvSpPr>
        <p:spPr>
          <a:xfrm>
            <a:off x="6672064" y="3691880"/>
            <a:ext cx="2254291" cy="14045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 Light" panose="020F0302020204030204" pitchFamily="34" charset="0"/>
              <a:buNone/>
              <a:defRPr sz="2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 Light" panose="020F0302020204030204" pitchFamily="34" charset="0"/>
              <a:buNone/>
              <a:defRPr sz="2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6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9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700"/>
              </a:spcAft>
              <a:buFont typeface="Arial" panose="020B0604020202020204" pitchFamily="34" charset="0"/>
              <a:buNone/>
              <a:defRPr sz="23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aa-ET" sz="8000" b="1" dirty="0">
                <a:solidFill>
                  <a:srgbClr val="FAAA00"/>
                </a:solidFill>
                <a:latin typeface="Museo Sans 900" panose="02000000000000000000" pitchFamily="50" charset="0"/>
              </a:rPr>
              <a:t>4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nl-BE" sz="1400" b="1" spc="200" dirty="0">
                <a:solidFill>
                  <a:srgbClr val="FAAA00"/>
                </a:solidFill>
                <a:latin typeface="Museo Sans 900" panose="02000000000000000000" pitchFamily="50" charset="0"/>
              </a:rPr>
              <a:t>LANDEN</a:t>
            </a:r>
            <a:endParaRPr lang="en-GB" sz="1400" b="1" spc="200" dirty="0">
              <a:solidFill>
                <a:srgbClr val="FAAA00"/>
              </a:solidFill>
              <a:latin typeface="Museo Sans 900" panose="02000000000000000000" pitchFamily="50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7EF9BF3-2EC8-4D64-BE3D-FE9CDC0611C0}"/>
              </a:ext>
            </a:extLst>
          </p:cNvPr>
          <p:cNvSpPr txBox="1"/>
          <p:nvPr/>
        </p:nvSpPr>
        <p:spPr>
          <a:xfrm>
            <a:off x="648916" y="631726"/>
            <a:ext cx="8135325" cy="52322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84000"/>
              </a:lnSpc>
            </a:pPr>
            <a:r>
              <a:rPr lang="nl-BE" sz="4000" dirty="0">
                <a:solidFill>
                  <a:srgbClr val="1E377D"/>
                </a:solidFill>
                <a:latin typeface="Museo Sans 100" panose="02000000000000000000" pitchFamily="50" charset="0"/>
              </a:rPr>
              <a:t>Dit is hoe onze </a:t>
            </a:r>
            <a:r>
              <a:rPr lang="aa-ET" sz="4000" b="1" dirty="0">
                <a:solidFill>
                  <a:srgbClr val="1E377D"/>
                </a:solidFill>
                <a:latin typeface="Museo Sans 900" panose="02000000000000000000" pitchFamily="50" charset="0"/>
              </a:rPr>
              <a:t>gro</a:t>
            </a:r>
            <a:r>
              <a:rPr lang="nl-BE" sz="4000" b="1" dirty="0">
                <a:solidFill>
                  <a:srgbClr val="1E377D"/>
                </a:solidFill>
                <a:latin typeface="Museo Sans 900" panose="02000000000000000000" pitchFamily="50" charset="0"/>
              </a:rPr>
              <a:t>ei </a:t>
            </a:r>
            <a:r>
              <a:rPr lang="nl-BE" sz="4000" dirty="0">
                <a:solidFill>
                  <a:srgbClr val="1E377D"/>
                </a:solidFill>
                <a:latin typeface="Museo Sans 100" panose="02000000000000000000" pitchFamily="50" charset="0"/>
              </a:rPr>
              <a:t>eruit ziet</a:t>
            </a:r>
            <a:r>
              <a:rPr lang="aa-ET" sz="4000" dirty="0">
                <a:solidFill>
                  <a:srgbClr val="1E377D"/>
                </a:solidFill>
                <a:latin typeface="Museo Sans 100" panose="02000000000000000000" pitchFamily="50" charset="0"/>
              </a:rPr>
              <a:t> </a:t>
            </a:r>
            <a:endParaRPr lang="en-GB" sz="4000" b="1" dirty="0">
              <a:solidFill>
                <a:srgbClr val="1E377D"/>
              </a:solidFill>
              <a:latin typeface="Museo Sans 100" panose="02000000000000000000" pitchFamily="50" charset="0"/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58685FD7-AFA5-4AC9-A4D3-7E27B2CCE1FE}"/>
              </a:ext>
            </a:extLst>
          </p:cNvPr>
          <p:cNvSpPr txBox="1">
            <a:spLocks/>
          </p:cNvSpPr>
          <p:nvPr/>
        </p:nvSpPr>
        <p:spPr>
          <a:xfrm>
            <a:off x="4943872" y="1806973"/>
            <a:ext cx="1717406" cy="1273510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 Light" panose="020F0302020204030204" pitchFamily="34" charset="0"/>
              <a:buNone/>
              <a:defRPr sz="2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 Light" panose="020F0302020204030204" pitchFamily="34" charset="0"/>
              <a:buNone/>
              <a:defRPr sz="2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6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9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700"/>
              </a:spcAft>
              <a:buFont typeface="Arial" panose="020B0604020202020204" pitchFamily="34" charset="0"/>
              <a:buNone/>
              <a:defRPr sz="23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fr-FR" sz="7200" b="1" dirty="0">
                <a:solidFill>
                  <a:schemeClr val="bg1">
                    <a:lumMod val="75000"/>
                  </a:schemeClr>
                </a:solidFill>
                <a:latin typeface="Museo Sans 900" panose="02000000000000000000" pitchFamily="50" charset="0"/>
              </a:rPr>
              <a:t>150</a:t>
            </a:r>
            <a:endParaRPr lang="aa-ET" sz="7200" b="1" dirty="0">
              <a:solidFill>
                <a:schemeClr val="bg1">
                  <a:lumMod val="75000"/>
                </a:schemeClr>
              </a:solidFill>
              <a:latin typeface="Museo Sans 900" panose="02000000000000000000" pitchFamily="50" charset="0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nl-BE" sz="1400" b="1" spc="200" dirty="0">
                <a:solidFill>
                  <a:schemeClr val="bg1">
                    <a:lumMod val="75000"/>
                  </a:schemeClr>
                </a:solidFill>
                <a:latin typeface="Museo Sans 900" panose="02000000000000000000" pitchFamily="50" charset="0"/>
              </a:rPr>
              <a:t>MEDEWERKERS</a:t>
            </a:r>
            <a:endParaRPr lang="en-GB" sz="1400" b="1" spc="200" dirty="0">
              <a:solidFill>
                <a:schemeClr val="bg1">
                  <a:lumMod val="75000"/>
                </a:schemeClr>
              </a:solidFill>
              <a:latin typeface="Museo Sans 900" panose="02000000000000000000" pitchFamily="50" charset="0"/>
            </a:endParaRP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EB4E3C3-B088-45F0-BDE4-0AF0771ABF84}"/>
              </a:ext>
            </a:extLst>
          </p:cNvPr>
          <p:cNvSpPr txBox="1">
            <a:spLocks/>
          </p:cNvSpPr>
          <p:nvPr/>
        </p:nvSpPr>
        <p:spPr>
          <a:xfrm>
            <a:off x="9120336" y="1819672"/>
            <a:ext cx="1844878" cy="1250178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 Light" panose="020F0302020204030204" pitchFamily="34" charset="0"/>
              <a:buNone/>
              <a:defRPr sz="2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 Light" panose="020F0302020204030204" pitchFamily="34" charset="0"/>
              <a:buNone/>
              <a:defRPr sz="2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6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9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700"/>
              </a:spcAft>
              <a:buFont typeface="Arial" panose="020B0604020202020204" pitchFamily="34" charset="0"/>
              <a:buNone/>
              <a:defRPr sz="23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fr-FR" sz="7200" b="1" dirty="0">
                <a:solidFill>
                  <a:schemeClr val="bg1">
                    <a:lumMod val="75000"/>
                  </a:schemeClr>
                </a:solidFill>
                <a:latin typeface="Museo Sans 900" panose="02000000000000000000" pitchFamily="50" charset="0"/>
              </a:rPr>
              <a:t>50</a:t>
            </a:r>
            <a:endParaRPr lang="aa-ET" sz="7200" b="1" dirty="0">
              <a:solidFill>
                <a:schemeClr val="bg1">
                  <a:lumMod val="75000"/>
                </a:schemeClr>
              </a:solidFill>
              <a:latin typeface="Museo Sans 900" panose="02000000000000000000" pitchFamily="50" charset="0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nl-BE" sz="1400" b="1" spc="200" dirty="0">
                <a:solidFill>
                  <a:schemeClr val="bg1">
                    <a:lumMod val="75000"/>
                  </a:schemeClr>
                </a:solidFill>
                <a:latin typeface="Museo Sans 900" panose="02000000000000000000" pitchFamily="50" charset="0"/>
              </a:rPr>
              <a:t>OMZET </a:t>
            </a:r>
            <a:r>
              <a:rPr lang="aa-ET" sz="1400" b="1" spc="200" dirty="0">
                <a:solidFill>
                  <a:schemeClr val="bg1">
                    <a:lumMod val="75000"/>
                  </a:schemeClr>
                </a:solidFill>
                <a:latin typeface="Museo Sans 900" panose="02000000000000000000" pitchFamily="50" charset="0"/>
              </a:rPr>
              <a:t>(M€)</a:t>
            </a:r>
            <a:endParaRPr lang="en-GB" sz="1400" b="1" spc="200" dirty="0">
              <a:solidFill>
                <a:schemeClr val="bg1">
                  <a:lumMod val="75000"/>
                </a:schemeClr>
              </a:solidFill>
              <a:latin typeface="Museo Sans 900" panose="02000000000000000000" pitchFamily="50" charset="0"/>
            </a:endParaRP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8CF4744-65D7-47E9-BB44-9935E18AAC0D}"/>
              </a:ext>
            </a:extLst>
          </p:cNvPr>
          <p:cNvSpPr txBox="1">
            <a:spLocks/>
          </p:cNvSpPr>
          <p:nvPr/>
        </p:nvSpPr>
        <p:spPr>
          <a:xfrm>
            <a:off x="6672064" y="1806972"/>
            <a:ext cx="2254291" cy="12628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 Light" panose="020F0302020204030204" pitchFamily="34" charset="0"/>
              <a:buNone/>
              <a:defRPr sz="2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 Light" panose="020F0302020204030204" pitchFamily="34" charset="0"/>
              <a:buNone/>
              <a:defRPr sz="2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6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9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700"/>
              </a:spcAft>
              <a:buFont typeface="Arial" panose="020B0604020202020204" pitchFamily="34" charset="0"/>
              <a:buNone/>
              <a:defRPr sz="23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fr-FR" sz="7200" b="1" dirty="0">
                <a:solidFill>
                  <a:schemeClr val="bg1">
                    <a:lumMod val="65000"/>
                  </a:schemeClr>
                </a:solidFill>
                <a:latin typeface="Museo Sans 900" panose="02000000000000000000" pitchFamily="50" charset="0"/>
              </a:rPr>
              <a:t>1</a:t>
            </a:r>
            <a:endParaRPr lang="aa-ET" sz="7200" b="1" dirty="0">
              <a:solidFill>
                <a:schemeClr val="bg1">
                  <a:lumMod val="65000"/>
                </a:schemeClr>
              </a:solidFill>
              <a:latin typeface="Museo Sans 900" panose="02000000000000000000" pitchFamily="50" charset="0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nl-BE" sz="1400" b="1" spc="200" dirty="0">
                <a:solidFill>
                  <a:schemeClr val="bg1">
                    <a:lumMod val="65000"/>
                  </a:schemeClr>
                </a:solidFill>
                <a:latin typeface="Museo Sans 900" panose="02000000000000000000" pitchFamily="50" charset="0"/>
              </a:rPr>
              <a:t>LAND</a:t>
            </a:r>
            <a:endParaRPr lang="en-GB" sz="1400" b="1" spc="200" dirty="0">
              <a:solidFill>
                <a:schemeClr val="bg1">
                  <a:lumMod val="65000"/>
                </a:schemeClr>
              </a:solidFill>
              <a:latin typeface="Museo Sans 900" panose="02000000000000000000" pitchFamily="50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74D9BEC-4DC9-48E6-BAE7-9858151BDA2A}"/>
              </a:ext>
            </a:extLst>
          </p:cNvPr>
          <p:cNvSpPr txBox="1"/>
          <p:nvPr/>
        </p:nvSpPr>
        <p:spPr>
          <a:xfrm>
            <a:off x="747413" y="2128157"/>
            <a:ext cx="17195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800" dirty="0">
                <a:solidFill>
                  <a:schemeClr val="bg1">
                    <a:lumMod val="75000"/>
                  </a:schemeClr>
                </a:solidFill>
                <a:latin typeface="Museo Sans 100" panose="02000000000000000000" pitchFamily="50" charset="0"/>
              </a:rPr>
              <a:t>2008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374012A-2090-4149-A7C1-DAA7B89E3180}"/>
              </a:ext>
            </a:extLst>
          </p:cNvPr>
          <p:cNvSpPr txBox="1"/>
          <p:nvPr/>
        </p:nvSpPr>
        <p:spPr>
          <a:xfrm>
            <a:off x="774826" y="3907904"/>
            <a:ext cx="207510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4800" dirty="0">
                <a:solidFill>
                  <a:schemeClr val="accent2"/>
                </a:solidFill>
                <a:latin typeface="Museo Sans 100" panose="02000000000000000000" pitchFamily="50" charset="0"/>
              </a:rPr>
              <a:t>Nu</a:t>
            </a:r>
            <a:endParaRPr lang="en-GB" sz="4800" dirty="0">
              <a:solidFill>
                <a:schemeClr val="accent2"/>
              </a:solidFill>
              <a:latin typeface="Museo Sans 100" panose="02000000000000000000" pitchFamily="50" charset="0"/>
            </a:endParaRPr>
          </a:p>
        </p:txBody>
      </p:sp>
      <p:sp>
        <p:nvSpPr>
          <p:cNvPr id="25" name="Tekstvak 24">
            <a:extLst>
              <a:ext uri="{FF2B5EF4-FFF2-40B4-BE49-F238E27FC236}">
                <a16:creationId xmlns:a16="http://schemas.microsoft.com/office/drawing/2014/main" id="{7A658C00-5EF1-D977-5CBC-B81980193383}"/>
              </a:ext>
            </a:extLst>
          </p:cNvPr>
          <p:cNvSpPr txBox="1"/>
          <p:nvPr/>
        </p:nvSpPr>
        <p:spPr>
          <a:xfrm>
            <a:off x="559900" y="6261592"/>
            <a:ext cx="804332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dirty="0">
                <a:latin typeface="Museo Sans 100" panose="02000000000000000000" pitchFamily="50" charset="0"/>
              </a:rPr>
              <a:t>*B</a:t>
            </a:r>
            <a:r>
              <a:rPr lang="nl-BE" sz="1400" dirty="0" err="1">
                <a:latin typeface="Museo Sans 100" panose="02000000000000000000" pitchFamily="50" charset="0"/>
              </a:rPr>
              <a:t>egonnen</a:t>
            </a:r>
            <a:r>
              <a:rPr lang="nl-BE" sz="1400" dirty="0">
                <a:latin typeface="Museo Sans 100" panose="02000000000000000000" pitchFamily="50" charset="0"/>
              </a:rPr>
              <a:t> met de bouw van een nieuwe fabriek in Genk. Verwachte opening in 2023.</a:t>
            </a:r>
            <a:endParaRPr lang="en-GB" sz="1400" dirty="0">
              <a:latin typeface="Museo Sans 100" panose="02000000000000000000" pitchFamily="50" charset="0"/>
            </a:endParaRP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4712E7C0-3AB5-5216-2CBE-2AAF2E9B85C9}"/>
              </a:ext>
            </a:extLst>
          </p:cNvPr>
          <p:cNvSpPr txBox="1">
            <a:spLocks/>
          </p:cNvSpPr>
          <p:nvPr/>
        </p:nvSpPr>
        <p:spPr>
          <a:xfrm>
            <a:off x="2689581" y="1810517"/>
            <a:ext cx="2254291" cy="12805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 Light" panose="020F0302020204030204" pitchFamily="34" charset="0"/>
              <a:buNone/>
              <a:defRPr sz="2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 Light" panose="020F0302020204030204" pitchFamily="34" charset="0"/>
              <a:buNone/>
              <a:defRPr sz="2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6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9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700"/>
              </a:spcAft>
              <a:buFont typeface="Arial" panose="020B0604020202020204" pitchFamily="34" charset="0"/>
              <a:buNone/>
              <a:defRPr sz="23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fr-FR" sz="7200" b="1" dirty="0">
                <a:solidFill>
                  <a:schemeClr val="bg1">
                    <a:lumMod val="65000"/>
                  </a:schemeClr>
                </a:solidFill>
                <a:latin typeface="Museo Sans 900" panose="02000000000000000000" pitchFamily="50" charset="0"/>
              </a:rPr>
              <a:t>1</a:t>
            </a:r>
            <a:endParaRPr lang="aa-ET" sz="7200" b="1" dirty="0">
              <a:solidFill>
                <a:schemeClr val="bg1">
                  <a:lumMod val="65000"/>
                </a:schemeClr>
              </a:solidFill>
              <a:latin typeface="Museo Sans 900" panose="02000000000000000000" pitchFamily="50" charset="0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nl-BE" sz="1400" b="1" spc="200" dirty="0">
                <a:solidFill>
                  <a:schemeClr val="bg1">
                    <a:lumMod val="65000"/>
                  </a:schemeClr>
                </a:solidFill>
                <a:latin typeface="Museo Sans 900" panose="02000000000000000000" pitchFamily="50" charset="0"/>
              </a:rPr>
              <a:t>FABRIEK</a:t>
            </a:r>
            <a:endParaRPr lang="en-GB" sz="1400" b="1" spc="200" dirty="0">
              <a:solidFill>
                <a:schemeClr val="bg1">
                  <a:lumMod val="65000"/>
                </a:schemeClr>
              </a:solidFill>
              <a:latin typeface="Museo Sans 900" panose="02000000000000000000" pitchFamily="50" charset="0"/>
            </a:endParaRP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11D99643-C629-EC51-8317-3C9E436445A3}"/>
              </a:ext>
            </a:extLst>
          </p:cNvPr>
          <p:cNvSpPr txBox="1">
            <a:spLocks/>
          </p:cNvSpPr>
          <p:nvPr/>
        </p:nvSpPr>
        <p:spPr>
          <a:xfrm>
            <a:off x="2723835" y="3660075"/>
            <a:ext cx="2192289" cy="1404567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 Light" panose="020F0302020204030204" pitchFamily="34" charset="0"/>
              <a:buNone/>
              <a:defRPr sz="2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 Light" panose="020F0302020204030204" pitchFamily="34" charset="0"/>
              <a:buNone/>
              <a:defRPr sz="2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6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2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97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3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2400"/>
              </a:spcBef>
              <a:spcAft>
                <a:spcPts val="700"/>
              </a:spcAft>
              <a:buFont typeface="Arial" panose="020B0604020202020204" pitchFamily="34" charset="0"/>
              <a:buNone/>
              <a:defRPr sz="23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nl-BE" sz="8000" b="1" dirty="0">
                <a:solidFill>
                  <a:srgbClr val="FAAA00"/>
                </a:solidFill>
                <a:latin typeface="Museo Sans 900" panose="02000000000000000000" pitchFamily="50" charset="0"/>
              </a:rPr>
              <a:t>7*</a:t>
            </a:r>
            <a:endParaRPr lang="aa-ET" sz="8000" b="1" dirty="0">
              <a:solidFill>
                <a:srgbClr val="FAAA00"/>
              </a:solidFill>
              <a:latin typeface="Museo Sans 900" panose="02000000000000000000" pitchFamily="50" charset="0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nl-BE" sz="1400" b="1" spc="200" dirty="0">
                <a:solidFill>
                  <a:srgbClr val="FAAA00"/>
                </a:solidFill>
                <a:latin typeface="Museo Sans 900" panose="02000000000000000000" pitchFamily="50" charset="0"/>
              </a:rPr>
              <a:t>FABRIEKEN</a:t>
            </a:r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3A938C49-6B61-E59E-C7D7-3BD1B0BC5D0E}"/>
              </a:ext>
            </a:extLst>
          </p:cNvPr>
          <p:cNvCxnSpPr>
            <a:cxnSpLocks/>
          </p:cNvCxnSpPr>
          <p:nvPr/>
        </p:nvCxnSpPr>
        <p:spPr>
          <a:xfrm>
            <a:off x="2711624" y="1891680"/>
            <a:ext cx="0" cy="3240360"/>
          </a:xfrm>
          <a:prstGeom prst="line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8" name="Rechte verbindingslijn 27">
            <a:extLst>
              <a:ext uri="{FF2B5EF4-FFF2-40B4-BE49-F238E27FC236}">
                <a16:creationId xmlns:a16="http://schemas.microsoft.com/office/drawing/2014/main" id="{B0230314-97BA-6575-0B4D-38C0465FE9D8}"/>
              </a:ext>
            </a:extLst>
          </p:cNvPr>
          <p:cNvCxnSpPr>
            <a:cxnSpLocks/>
          </p:cNvCxnSpPr>
          <p:nvPr/>
        </p:nvCxnSpPr>
        <p:spPr>
          <a:xfrm flipH="1">
            <a:off x="767408" y="3475856"/>
            <a:ext cx="10297144" cy="0"/>
          </a:xfrm>
          <a:prstGeom prst="line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9" name="Afbeelding 28">
            <a:extLst>
              <a:ext uri="{FF2B5EF4-FFF2-40B4-BE49-F238E27FC236}">
                <a16:creationId xmlns:a16="http://schemas.microsoft.com/office/drawing/2014/main" id="{3E7DBBC5-B097-AA05-2C12-567E9119343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2597" y="6152322"/>
            <a:ext cx="465676" cy="480312"/>
          </a:xfrm>
          <a:prstGeom prst="rect">
            <a:avLst/>
          </a:prstGeom>
        </p:spPr>
      </p:pic>
      <p:sp>
        <p:nvSpPr>
          <p:cNvPr id="30" name="Rechthoek 29">
            <a:extLst>
              <a:ext uri="{FF2B5EF4-FFF2-40B4-BE49-F238E27FC236}">
                <a16:creationId xmlns:a16="http://schemas.microsoft.com/office/drawing/2014/main" id="{43658DA2-76BC-AE82-42DD-0FB6DB2517B0}"/>
              </a:ext>
            </a:extLst>
          </p:cNvPr>
          <p:cNvSpPr/>
          <p:nvPr/>
        </p:nvSpPr>
        <p:spPr>
          <a:xfrm flipV="1">
            <a:off x="0" y="825911"/>
            <a:ext cx="511277" cy="45719"/>
          </a:xfrm>
          <a:prstGeom prst="rect">
            <a:avLst/>
          </a:prstGeom>
          <a:solidFill>
            <a:srgbClr val="FAA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4945965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  <p:bldP spid="18" grpId="0"/>
      <p:bldP spid="16" grpId="0"/>
      <p:bldP spid="17" grpId="0"/>
      <p:bldP spid="23" grpId="0"/>
      <p:bldP spid="4" grpId="0"/>
      <p:bldP spid="24" grpId="0"/>
      <p:bldP spid="25" grpId="0"/>
      <p:bldP spid="26" grpId="0"/>
      <p:bldP spid="27" grpId="0" animBg="1"/>
      <p:bldP spid="3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064B6FB-BC52-4267-86B1-1FAFCFC20B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7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064B6FB-BC52-4267-86B1-1FAFCFC20B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ep 18">
            <a:extLst>
              <a:ext uri="{FF2B5EF4-FFF2-40B4-BE49-F238E27FC236}">
                <a16:creationId xmlns:a16="http://schemas.microsoft.com/office/drawing/2014/main" id="{47CEDEF7-8F8A-C48A-8F98-2C64BD3A7B9B}"/>
              </a:ext>
            </a:extLst>
          </p:cNvPr>
          <p:cNvGrpSpPr/>
          <p:nvPr/>
        </p:nvGrpSpPr>
        <p:grpSpPr>
          <a:xfrm>
            <a:off x="6361623" y="55047"/>
            <a:ext cx="5581712" cy="6654800"/>
            <a:chOff x="6331707" y="101600"/>
            <a:chExt cx="5581712" cy="6654800"/>
          </a:xfrm>
        </p:grpSpPr>
        <p:sp>
          <p:nvSpPr>
            <p:cNvPr id="20" name="Freeform: Shape 19">
              <a:hlinkClick r:id="" action="ppaction://noaction"/>
              <a:extLst>
                <a:ext uri="{FF2B5EF4-FFF2-40B4-BE49-F238E27FC236}">
                  <a16:creationId xmlns:a16="http://schemas.microsoft.com/office/drawing/2014/main" id="{F157D572-4D77-42C0-9198-CE52BE80DD63}"/>
                </a:ext>
              </a:extLst>
            </p:cNvPr>
            <p:cNvSpPr/>
            <p:nvPr/>
          </p:nvSpPr>
          <p:spPr>
            <a:xfrm>
              <a:off x="6699711" y="3300690"/>
              <a:ext cx="3476873" cy="3455710"/>
            </a:xfrm>
            <a:custGeom>
              <a:avLst/>
              <a:gdLst>
                <a:gd name="connsiteX0" fmla="*/ 616667 w 3878592"/>
                <a:gd name="connsiteY0" fmla="*/ 3278754 h 3854985"/>
                <a:gd name="connsiteX1" fmla="*/ 909836 w 3878592"/>
                <a:gd name="connsiteY1" fmla="*/ 2625031 h 3854985"/>
                <a:gd name="connsiteX2" fmla="*/ 977239 w 3878592"/>
                <a:gd name="connsiteY2" fmla="*/ 2045436 h 3854985"/>
                <a:gd name="connsiteX3" fmla="*/ 684071 w 3878592"/>
                <a:gd name="connsiteY3" fmla="*/ 1748888 h 3854985"/>
                <a:gd name="connsiteX4" fmla="*/ 704280 w 3878592"/>
                <a:gd name="connsiteY4" fmla="*/ 1573663 h 3854985"/>
                <a:gd name="connsiteX5" fmla="*/ 0 w 3878592"/>
                <a:gd name="connsiteY5" fmla="*/ 1101907 h 3854985"/>
                <a:gd name="connsiteX6" fmla="*/ 20226 w 3878592"/>
                <a:gd name="connsiteY6" fmla="*/ 940149 h 3854985"/>
                <a:gd name="connsiteX7" fmla="*/ 128065 w 3878592"/>
                <a:gd name="connsiteY7" fmla="*/ 835690 h 3854985"/>
                <a:gd name="connsiteX8" fmla="*/ 488620 w 3878592"/>
                <a:gd name="connsiteY8" fmla="*/ 849174 h 3854985"/>
                <a:gd name="connsiteX9" fmla="*/ 636894 w 3878592"/>
                <a:gd name="connsiteY9" fmla="*/ 990706 h 3854985"/>
                <a:gd name="connsiteX10" fmla="*/ 977239 w 3878592"/>
                <a:gd name="connsiteY10" fmla="*/ 997448 h 3854985"/>
                <a:gd name="connsiteX11" fmla="*/ 953651 w 3878592"/>
                <a:gd name="connsiteY11" fmla="*/ 566110 h 3854985"/>
                <a:gd name="connsiteX12" fmla="*/ 1108650 w 3878592"/>
                <a:gd name="connsiteY12" fmla="*/ 566110 h 3854985"/>
                <a:gd name="connsiteX13" fmla="*/ 1159207 w 3878592"/>
                <a:gd name="connsiteY13" fmla="*/ 660465 h 3854985"/>
                <a:gd name="connsiteX14" fmla="*/ 1435528 w 3878592"/>
                <a:gd name="connsiteY14" fmla="*/ 721126 h 3854985"/>
                <a:gd name="connsiteX15" fmla="*/ 1917389 w 3878592"/>
                <a:gd name="connsiteY15" fmla="*/ 451547 h 3854985"/>
                <a:gd name="connsiteX16" fmla="*/ 2018485 w 3878592"/>
                <a:gd name="connsiteY16" fmla="*/ 87613 h 3854985"/>
                <a:gd name="connsiteX17" fmla="*/ 2267856 w 3878592"/>
                <a:gd name="connsiteY17" fmla="*/ 0 h 3854985"/>
                <a:gd name="connsiteX18" fmla="*/ 2325138 w 3878592"/>
                <a:gd name="connsiteY18" fmla="*/ 148257 h 3854985"/>
                <a:gd name="connsiteX19" fmla="*/ 2456548 w 3878592"/>
                <a:gd name="connsiteY19" fmla="*/ 134790 h 3854985"/>
                <a:gd name="connsiteX20" fmla="*/ 2456548 w 3878592"/>
                <a:gd name="connsiteY20" fmla="*/ 276322 h 3854985"/>
                <a:gd name="connsiteX21" fmla="*/ 2712661 w 3878592"/>
                <a:gd name="connsiteY21" fmla="*/ 357192 h 3854985"/>
                <a:gd name="connsiteX22" fmla="*/ 2753096 w 3878592"/>
                <a:gd name="connsiteY22" fmla="*/ 525675 h 3854985"/>
                <a:gd name="connsiteX23" fmla="*/ 2810378 w 3878592"/>
                <a:gd name="connsiteY23" fmla="*/ 549264 h 3854985"/>
                <a:gd name="connsiteX24" fmla="*/ 2904733 w 3878592"/>
                <a:gd name="connsiteY24" fmla="*/ 465014 h 3854985"/>
                <a:gd name="connsiteX25" fmla="*/ 2951910 w 3878592"/>
                <a:gd name="connsiteY25" fmla="*/ 613288 h 3854985"/>
                <a:gd name="connsiteX26" fmla="*/ 3154086 w 3878592"/>
                <a:gd name="connsiteY26" fmla="*/ 741335 h 3854985"/>
                <a:gd name="connsiteX27" fmla="*/ 3339433 w 3878592"/>
                <a:gd name="connsiteY27" fmla="*/ 744715 h 3854985"/>
                <a:gd name="connsiteX28" fmla="*/ 3450634 w 3878592"/>
                <a:gd name="connsiteY28" fmla="*/ 896352 h 3854985"/>
                <a:gd name="connsiteX29" fmla="*/ 3878592 w 3878592"/>
                <a:gd name="connsiteY29" fmla="*/ 970480 h 3854985"/>
                <a:gd name="connsiteX30" fmla="*/ 3757269 w 3878592"/>
                <a:gd name="connsiteY30" fmla="*/ 1587148 h 3854985"/>
                <a:gd name="connsiteX31" fmla="*/ 3352900 w 3878592"/>
                <a:gd name="connsiteY31" fmla="*/ 2001622 h 3854985"/>
                <a:gd name="connsiteX32" fmla="*/ 3555093 w 3878592"/>
                <a:gd name="connsiteY32" fmla="*/ 2345347 h 3854985"/>
                <a:gd name="connsiteX33" fmla="*/ 3480965 w 3878592"/>
                <a:gd name="connsiteY33" fmla="*/ 2466653 h 3854985"/>
                <a:gd name="connsiteX34" fmla="*/ 3575302 w 3878592"/>
                <a:gd name="connsiteY34" fmla="*/ 2625031 h 3854985"/>
                <a:gd name="connsiteX35" fmla="*/ 3447254 w 3878592"/>
                <a:gd name="connsiteY35" fmla="*/ 2729490 h 3854985"/>
                <a:gd name="connsiteX36" fmla="*/ 3551731 w 3878592"/>
                <a:gd name="connsiteY36" fmla="*/ 2908095 h 3854985"/>
                <a:gd name="connsiteX37" fmla="*/ 3521400 w 3878592"/>
                <a:gd name="connsiteY37" fmla="*/ 3036143 h 3854985"/>
                <a:gd name="connsiteX38" fmla="*/ 3605633 w 3878592"/>
                <a:gd name="connsiteY38" fmla="*/ 3137222 h 3854985"/>
                <a:gd name="connsiteX39" fmla="*/ 3764011 w 3878592"/>
                <a:gd name="connsiteY39" fmla="*/ 3150706 h 3854985"/>
                <a:gd name="connsiteX40" fmla="*/ 3777495 w 3878592"/>
                <a:gd name="connsiteY40" fmla="*/ 3278754 h 3854985"/>
                <a:gd name="connsiteX41" fmla="*/ 3332691 w 3878592"/>
                <a:gd name="connsiteY41" fmla="*/ 3571922 h 3854985"/>
                <a:gd name="connsiteX42" fmla="*/ 2567749 w 3878592"/>
                <a:gd name="connsiteY42" fmla="*/ 3356262 h 3854985"/>
                <a:gd name="connsiteX43" fmla="*/ 2247630 w 3878592"/>
                <a:gd name="connsiteY43" fmla="*/ 3571922 h 3854985"/>
                <a:gd name="connsiteX44" fmla="*/ 2234146 w 3878592"/>
                <a:gd name="connsiteY44" fmla="*/ 3854986 h 3854985"/>
                <a:gd name="connsiteX45" fmla="*/ 1731608 w 3878592"/>
                <a:gd name="connsiteY45" fmla="*/ 3687248 h 3854985"/>
                <a:gd name="connsiteX46" fmla="*/ 1189451 w 3878592"/>
                <a:gd name="connsiteY46" fmla="*/ 3687699 h 3854985"/>
                <a:gd name="connsiteX47" fmla="*/ 616667 w 3878592"/>
                <a:gd name="connsiteY47" fmla="*/ 3278754 h 3854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3878592" h="3854985">
                  <a:moveTo>
                    <a:pt x="616667" y="3278754"/>
                  </a:moveTo>
                  <a:lnTo>
                    <a:pt x="909836" y="2625031"/>
                  </a:lnTo>
                  <a:lnTo>
                    <a:pt x="977239" y="2045436"/>
                  </a:lnTo>
                  <a:lnTo>
                    <a:pt x="684071" y="1748888"/>
                  </a:lnTo>
                  <a:lnTo>
                    <a:pt x="704280" y="1573663"/>
                  </a:lnTo>
                  <a:lnTo>
                    <a:pt x="0" y="1101907"/>
                  </a:lnTo>
                  <a:lnTo>
                    <a:pt x="20226" y="940149"/>
                  </a:lnTo>
                  <a:lnTo>
                    <a:pt x="128065" y="835690"/>
                  </a:lnTo>
                  <a:lnTo>
                    <a:pt x="488620" y="849174"/>
                  </a:lnTo>
                  <a:lnTo>
                    <a:pt x="636894" y="990706"/>
                  </a:lnTo>
                  <a:lnTo>
                    <a:pt x="977239" y="997448"/>
                  </a:lnTo>
                  <a:lnTo>
                    <a:pt x="953651" y="566110"/>
                  </a:lnTo>
                  <a:lnTo>
                    <a:pt x="1108650" y="566110"/>
                  </a:lnTo>
                  <a:lnTo>
                    <a:pt x="1159207" y="660465"/>
                  </a:lnTo>
                  <a:lnTo>
                    <a:pt x="1435528" y="721126"/>
                  </a:lnTo>
                  <a:lnTo>
                    <a:pt x="1917389" y="451547"/>
                  </a:lnTo>
                  <a:lnTo>
                    <a:pt x="2018485" y="87613"/>
                  </a:lnTo>
                  <a:lnTo>
                    <a:pt x="2267856" y="0"/>
                  </a:lnTo>
                  <a:lnTo>
                    <a:pt x="2325138" y="148257"/>
                  </a:lnTo>
                  <a:lnTo>
                    <a:pt x="2456548" y="134790"/>
                  </a:lnTo>
                  <a:lnTo>
                    <a:pt x="2456548" y="276322"/>
                  </a:lnTo>
                  <a:lnTo>
                    <a:pt x="2712661" y="357192"/>
                  </a:lnTo>
                  <a:lnTo>
                    <a:pt x="2753096" y="525675"/>
                  </a:lnTo>
                  <a:lnTo>
                    <a:pt x="2810378" y="549264"/>
                  </a:lnTo>
                  <a:lnTo>
                    <a:pt x="2904733" y="465014"/>
                  </a:lnTo>
                  <a:lnTo>
                    <a:pt x="2951910" y="613288"/>
                  </a:lnTo>
                  <a:lnTo>
                    <a:pt x="3154086" y="741335"/>
                  </a:lnTo>
                  <a:lnTo>
                    <a:pt x="3339433" y="744715"/>
                  </a:lnTo>
                  <a:lnTo>
                    <a:pt x="3450634" y="896352"/>
                  </a:lnTo>
                  <a:lnTo>
                    <a:pt x="3878592" y="970480"/>
                  </a:lnTo>
                  <a:lnTo>
                    <a:pt x="3757269" y="1587148"/>
                  </a:lnTo>
                  <a:lnTo>
                    <a:pt x="3352900" y="2001622"/>
                  </a:lnTo>
                  <a:lnTo>
                    <a:pt x="3555093" y="2345347"/>
                  </a:lnTo>
                  <a:lnTo>
                    <a:pt x="3480965" y="2466653"/>
                  </a:lnTo>
                  <a:lnTo>
                    <a:pt x="3575302" y="2625031"/>
                  </a:lnTo>
                  <a:lnTo>
                    <a:pt x="3447254" y="2729490"/>
                  </a:lnTo>
                  <a:lnTo>
                    <a:pt x="3551731" y="2908095"/>
                  </a:lnTo>
                  <a:lnTo>
                    <a:pt x="3521400" y="3036143"/>
                  </a:lnTo>
                  <a:lnTo>
                    <a:pt x="3605633" y="3137222"/>
                  </a:lnTo>
                  <a:lnTo>
                    <a:pt x="3764011" y="3150706"/>
                  </a:lnTo>
                  <a:lnTo>
                    <a:pt x="3777495" y="3278754"/>
                  </a:lnTo>
                  <a:lnTo>
                    <a:pt x="3332691" y="3571922"/>
                  </a:lnTo>
                  <a:lnTo>
                    <a:pt x="2567749" y="3356262"/>
                  </a:lnTo>
                  <a:lnTo>
                    <a:pt x="2247630" y="3571922"/>
                  </a:lnTo>
                  <a:lnTo>
                    <a:pt x="2234146" y="3854986"/>
                  </a:lnTo>
                  <a:lnTo>
                    <a:pt x="1731608" y="3687248"/>
                  </a:lnTo>
                  <a:lnTo>
                    <a:pt x="1189451" y="3687699"/>
                  </a:lnTo>
                  <a:lnTo>
                    <a:pt x="616667" y="3278754"/>
                  </a:lnTo>
                  <a:close/>
                </a:path>
              </a:pathLst>
            </a:custGeom>
            <a:solidFill>
              <a:srgbClr val="E6E6E6"/>
            </a:solidFill>
            <a:ln w="34617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hlinkClick r:id="rId7" action="ppaction://hlinksldjump"/>
              <a:extLst>
                <a:ext uri="{FF2B5EF4-FFF2-40B4-BE49-F238E27FC236}">
                  <a16:creationId xmlns:a16="http://schemas.microsoft.com/office/drawing/2014/main" id="{40976D09-B5E7-4FCA-910B-E4BB3A65063F}"/>
                </a:ext>
              </a:extLst>
            </p:cNvPr>
            <p:cNvSpPr/>
            <p:nvPr/>
          </p:nvSpPr>
          <p:spPr>
            <a:xfrm>
              <a:off x="8732677" y="3190799"/>
              <a:ext cx="977680" cy="775780"/>
            </a:xfrm>
            <a:custGeom>
              <a:avLst/>
              <a:gdLst>
                <a:gd name="connsiteX0" fmla="*/ 0 w 1090641"/>
                <a:gd name="connsiteY0" fmla="*/ 122588 h 865414"/>
                <a:gd name="connsiteX1" fmla="*/ 245454 w 1090641"/>
                <a:gd name="connsiteY1" fmla="*/ 17540 h 865414"/>
                <a:gd name="connsiteX2" fmla="*/ 361178 w 1090641"/>
                <a:gd name="connsiteY2" fmla="*/ 84164 h 865414"/>
                <a:gd name="connsiteX3" fmla="*/ 526022 w 1090641"/>
                <a:gd name="connsiteY3" fmla="*/ 70055 h 865414"/>
                <a:gd name="connsiteX4" fmla="*/ 582125 w 1090641"/>
                <a:gd name="connsiteY4" fmla="*/ 0 h 865414"/>
                <a:gd name="connsiteX5" fmla="*/ 753970 w 1090641"/>
                <a:gd name="connsiteY5" fmla="*/ 21041 h 865414"/>
                <a:gd name="connsiteX6" fmla="*/ 771510 w 1090641"/>
                <a:gd name="connsiteY6" fmla="*/ 61285 h 865414"/>
                <a:gd name="connsiteX7" fmla="*/ 932835 w 1090641"/>
                <a:gd name="connsiteY7" fmla="*/ 61285 h 865414"/>
                <a:gd name="connsiteX8" fmla="*/ 950375 w 1090641"/>
                <a:gd name="connsiteY8" fmla="*/ 154306 h 865414"/>
                <a:gd name="connsiteX9" fmla="*/ 929317 w 1090641"/>
                <a:gd name="connsiteY9" fmla="*/ 287570 h 865414"/>
                <a:gd name="connsiteX10" fmla="*/ 1031037 w 1090641"/>
                <a:gd name="connsiteY10" fmla="*/ 354211 h 865414"/>
                <a:gd name="connsiteX11" fmla="*/ 1090642 w 1090641"/>
                <a:gd name="connsiteY11" fmla="*/ 540078 h 865414"/>
                <a:gd name="connsiteX12" fmla="*/ 974917 w 1090641"/>
                <a:gd name="connsiteY12" fmla="*/ 624259 h 865414"/>
                <a:gd name="connsiteX13" fmla="*/ 918796 w 1090641"/>
                <a:gd name="connsiteY13" fmla="*/ 743485 h 865414"/>
                <a:gd name="connsiteX14" fmla="*/ 967915 w 1090641"/>
                <a:gd name="connsiteY14" fmla="*/ 865414 h 865414"/>
                <a:gd name="connsiteX15" fmla="*/ 886230 w 1090641"/>
                <a:gd name="connsiteY15" fmla="*/ 863924 h 865414"/>
                <a:gd name="connsiteX16" fmla="*/ 684054 w 1090641"/>
                <a:gd name="connsiteY16" fmla="*/ 735876 h 865414"/>
                <a:gd name="connsiteX17" fmla="*/ 636876 w 1090641"/>
                <a:gd name="connsiteY17" fmla="*/ 587602 h 865414"/>
                <a:gd name="connsiteX18" fmla="*/ 542522 w 1090641"/>
                <a:gd name="connsiteY18" fmla="*/ 671852 h 865414"/>
                <a:gd name="connsiteX19" fmla="*/ 485240 w 1090641"/>
                <a:gd name="connsiteY19" fmla="*/ 648263 h 865414"/>
                <a:gd name="connsiteX20" fmla="*/ 444805 w 1090641"/>
                <a:gd name="connsiteY20" fmla="*/ 479781 h 865414"/>
                <a:gd name="connsiteX21" fmla="*/ 188692 w 1090641"/>
                <a:gd name="connsiteY21" fmla="*/ 398910 h 865414"/>
                <a:gd name="connsiteX22" fmla="*/ 188692 w 1090641"/>
                <a:gd name="connsiteY22" fmla="*/ 257378 h 865414"/>
                <a:gd name="connsiteX23" fmla="*/ 57282 w 1090641"/>
                <a:gd name="connsiteY23" fmla="*/ 270845 h 865414"/>
                <a:gd name="connsiteX24" fmla="*/ 0 w 1090641"/>
                <a:gd name="connsiteY24" fmla="*/ 122588 h 865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90641" h="865414">
                  <a:moveTo>
                    <a:pt x="0" y="122588"/>
                  </a:moveTo>
                  <a:lnTo>
                    <a:pt x="245454" y="17540"/>
                  </a:lnTo>
                  <a:lnTo>
                    <a:pt x="361178" y="84164"/>
                  </a:lnTo>
                  <a:lnTo>
                    <a:pt x="526022" y="70055"/>
                  </a:lnTo>
                  <a:lnTo>
                    <a:pt x="582125" y="0"/>
                  </a:lnTo>
                  <a:lnTo>
                    <a:pt x="753970" y="21041"/>
                  </a:lnTo>
                  <a:lnTo>
                    <a:pt x="771510" y="61285"/>
                  </a:lnTo>
                  <a:lnTo>
                    <a:pt x="932835" y="61285"/>
                  </a:lnTo>
                  <a:lnTo>
                    <a:pt x="950375" y="154306"/>
                  </a:lnTo>
                  <a:lnTo>
                    <a:pt x="929317" y="287570"/>
                  </a:lnTo>
                  <a:lnTo>
                    <a:pt x="1031037" y="354211"/>
                  </a:lnTo>
                  <a:lnTo>
                    <a:pt x="1090642" y="540078"/>
                  </a:lnTo>
                  <a:lnTo>
                    <a:pt x="974917" y="624259"/>
                  </a:lnTo>
                  <a:lnTo>
                    <a:pt x="918796" y="743485"/>
                  </a:lnTo>
                  <a:lnTo>
                    <a:pt x="967915" y="865414"/>
                  </a:lnTo>
                  <a:lnTo>
                    <a:pt x="886230" y="863924"/>
                  </a:lnTo>
                  <a:lnTo>
                    <a:pt x="684054" y="735876"/>
                  </a:lnTo>
                  <a:lnTo>
                    <a:pt x="636876" y="587602"/>
                  </a:lnTo>
                  <a:lnTo>
                    <a:pt x="542522" y="671852"/>
                  </a:lnTo>
                  <a:lnTo>
                    <a:pt x="485240" y="648263"/>
                  </a:lnTo>
                  <a:lnTo>
                    <a:pt x="444805" y="479781"/>
                  </a:lnTo>
                  <a:lnTo>
                    <a:pt x="188692" y="398910"/>
                  </a:lnTo>
                  <a:lnTo>
                    <a:pt x="188692" y="257378"/>
                  </a:lnTo>
                  <a:lnTo>
                    <a:pt x="57282" y="270845"/>
                  </a:lnTo>
                  <a:lnTo>
                    <a:pt x="0" y="122588"/>
                  </a:lnTo>
                  <a:close/>
                </a:path>
              </a:pathLst>
            </a:custGeom>
            <a:solidFill>
              <a:srgbClr val="E6E6E6"/>
            </a:solidFill>
            <a:ln w="34617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hlinkClick r:id="" action="ppaction://noaction"/>
              <a:extLst>
                <a:ext uri="{FF2B5EF4-FFF2-40B4-BE49-F238E27FC236}">
                  <a16:creationId xmlns:a16="http://schemas.microsoft.com/office/drawing/2014/main" id="{07ED298A-0B02-4A15-B1FB-51E3510BC294}"/>
                </a:ext>
              </a:extLst>
            </p:cNvPr>
            <p:cNvSpPr/>
            <p:nvPr/>
          </p:nvSpPr>
          <p:spPr>
            <a:xfrm>
              <a:off x="8952709" y="2395411"/>
              <a:ext cx="1009157" cy="1112911"/>
            </a:xfrm>
            <a:custGeom>
              <a:avLst/>
              <a:gdLst>
                <a:gd name="connsiteX0" fmla="*/ 785584 w 1125755"/>
                <a:gd name="connsiteY0" fmla="*/ 1241498 h 1241498"/>
                <a:gd name="connsiteX1" fmla="*/ 845188 w 1125755"/>
                <a:gd name="connsiteY1" fmla="*/ 918848 h 1241498"/>
                <a:gd name="connsiteX2" fmla="*/ 785584 w 1125755"/>
                <a:gd name="connsiteY2" fmla="*/ 708422 h 1241498"/>
                <a:gd name="connsiteX3" fmla="*/ 960930 w 1125755"/>
                <a:gd name="connsiteY3" fmla="*/ 666341 h 1241498"/>
                <a:gd name="connsiteX4" fmla="*/ 1069653 w 1125755"/>
                <a:gd name="connsiteY4" fmla="*/ 438392 h 1241498"/>
                <a:gd name="connsiteX5" fmla="*/ 995992 w 1125755"/>
                <a:gd name="connsiteY5" fmla="*/ 403312 h 1241498"/>
                <a:gd name="connsiteX6" fmla="*/ 999511 w 1125755"/>
                <a:gd name="connsiteY6" fmla="*/ 350710 h 1241498"/>
                <a:gd name="connsiteX7" fmla="*/ 1094195 w 1125755"/>
                <a:gd name="connsiteY7" fmla="*/ 322650 h 1241498"/>
                <a:gd name="connsiteX8" fmla="*/ 1125756 w 1125755"/>
                <a:gd name="connsiteY8" fmla="*/ 129764 h 1241498"/>
                <a:gd name="connsiteX9" fmla="*/ 955661 w 1125755"/>
                <a:gd name="connsiteY9" fmla="*/ 0 h 1241498"/>
                <a:gd name="connsiteX10" fmla="*/ 831166 w 1125755"/>
                <a:gd name="connsiteY10" fmla="*/ 49101 h 1241498"/>
                <a:gd name="connsiteX11" fmla="*/ 747003 w 1125755"/>
                <a:gd name="connsiteY11" fmla="*/ 52619 h 1241498"/>
                <a:gd name="connsiteX12" fmla="*/ 634779 w 1125755"/>
                <a:gd name="connsiteY12" fmla="*/ 157963 h 1241498"/>
                <a:gd name="connsiteX13" fmla="*/ 634779 w 1125755"/>
                <a:gd name="connsiteY13" fmla="*/ 210426 h 1241498"/>
                <a:gd name="connsiteX14" fmla="*/ 687381 w 1125755"/>
                <a:gd name="connsiteY14" fmla="*/ 259527 h 1241498"/>
                <a:gd name="connsiteX15" fmla="*/ 676861 w 1125755"/>
                <a:gd name="connsiteY15" fmla="*/ 371751 h 1241498"/>
                <a:gd name="connsiteX16" fmla="*/ 522555 w 1125755"/>
                <a:gd name="connsiteY16" fmla="*/ 519054 h 1241498"/>
                <a:gd name="connsiteX17" fmla="*/ 487476 w 1125755"/>
                <a:gd name="connsiteY17" fmla="*/ 378770 h 1241498"/>
                <a:gd name="connsiteX18" fmla="*/ 536577 w 1125755"/>
                <a:gd name="connsiteY18" fmla="*/ 284069 h 1241498"/>
                <a:gd name="connsiteX19" fmla="*/ 487476 w 1125755"/>
                <a:gd name="connsiteY19" fmla="*/ 199906 h 1241498"/>
                <a:gd name="connsiteX20" fmla="*/ 438375 w 1125755"/>
                <a:gd name="connsiteY20" fmla="*/ 220947 h 1241498"/>
                <a:gd name="connsiteX21" fmla="*/ 326151 w 1125755"/>
                <a:gd name="connsiteY21" fmla="*/ 564637 h 1241498"/>
                <a:gd name="connsiteX22" fmla="*/ 234968 w 1125755"/>
                <a:gd name="connsiteY22" fmla="*/ 655820 h 1241498"/>
                <a:gd name="connsiteX23" fmla="*/ 340190 w 1125755"/>
                <a:gd name="connsiteY23" fmla="*/ 739983 h 1241498"/>
                <a:gd name="connsiteX24" fmla="*/ 322650 w 1125755"/>
                <a:gd name="connsiteY24" fmla="*/ 775063 h 1241498"/>
                <a:gd name="connsiteX25" fmla="*/ 234968 w 1125755"/>
                <a:gd name="connsiteY25" fmla="*/ 820646 h 1241498"/>
                <a:gd name="connsiteX26" fmla="*/ 122744 w 1125755"/>
                <a:gd name="connsiteY26" fmla="*/ 803124 h 1241498"/>
                <a:gd name="connsiteX27" fmla="*/ 56103 w 1125755"/>
                <a:gd name="connsiteY27" fmla="*/ 824164 h 1241498"/>
                <a:gd name="connsiteX28" fmla="*/ 101703 w 1125755"/>
                <a:gd name="connsiteY28" fmla="*/ 887287 h 1241498"/>
                <a:gd name="connsiteX29" fmla="*/ 0 w 1125755"/>
                <a:gd name="connsiteY29" fmla="*/ 904827 h 1241498"/>
                <a:gd name="connsiteX30" fmla="*/ 115725 w 1125755"/>
                <a:gd name="connsiteY30" fmla="*/ 971451 h 1241498"/>
                <a:gd name="connsiteX31" fmla="*/ 280568 w 1125755"/>
                <a:gd name="connsiteY31" fmla="*/ 957342 h 1241498"/>
                <a:gd name="connsiteX32" fmla="*/ 336671 w 1125755"/>
                <a:gd name="connsiteY32" fmla="*/ 887287 h 1241498"/>
                <a:gd name="connsiteX33" fmla="*/ 508517 w 1125755"/>
                <a:gd name="connsiteY33" fmla="*/ 908328 h 1241498"/>
                <a:gd name="connsiteX34" fmla="*/ 526056 w 1125755"/>
                <a:gd name="connsiteY34" fmla="*/ 948572 h 1241498"/>
                <a:gd name="connsiteX35" fmla="*/ 687381 w 1125755"/>
                <a:gd name="connsiteY35" fmla="*/ 948572 h 1241498"/>
                <a:gd name="connsiteX36" fmla="*/ 704921 w 1125755"/>
                <a:gd name="connsiteY36" fmla="*/ 1041593 h 1241498"/>
                <a:gd name="connsiteX37" fmla="*/ 683863 w 1125755"/>
                <a:gd name="connsiteY37" fmla="*/ 1174857 h 1241498"/>
                <a:gd name="connsiteX38" fmla="*/ 785584 w 1125755"/>
                <a:gd name="connsiteY38" fmla="*/ 1241498 h 1241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125755" h="1241498">
                  <a:moveTo>
                    <a:pt x="785584" y="1241498"/>
                  </a:moveTo>
                  <a:lnTo>
                    <a:pt x="845188" y="918848"/>
                  </a:lnTo>
                  <a:lnTo>
                    <a:pt x="785584" y="708422"/>
                  </a:lnTo>
                  <a:lnTo>
                    <a:pt x="960930" y="666341"/>
                  </a:lnTo>
                  <a:lnTo>
                    <a:pt x="1069653" y="438392"/>
                  </a:lnTo>
                  <a:lnTo>
                    <a:pt x="995992" y="403312"/>
                  </a:lnTo>
                  <a:lnTo>
                    <a:pt x="999511" y="350710"/>
                  </a:lnTo>
                  <a:lnTo>
                    <a:pt x="1094195" y="322650"/>
                  </a:lnTo>
                  <a:lnTo>
                    <a:pt x="1125756" y="129764"/>
                  </a:lnTo>
                  <a:lnTo>
                    <a:pt x="955661" y="0"/>
                  </a:lnTo>
                  <a:lnTo>
                    <a:pt x="831166" y="49101"/>
                  </a:lnTo>
                  <a:lnTo>
                    <a:pt x="747003" y="52619"/>
                  </a:lnTo>
                  <a:lnTo>
                    <a:pt x="634779" y="157963"/>
                  </a:lnTo>
                  <a:lnTo>
                    <a:pt x="634779" y="210426"/>
                  </a:lnTo>
                  <a:lnTo>
                    <a:pt x="687381" y="259527"/>
                  </a:lnTo>
                  <a:lnTo>
                    <a:pt x="676861" y="371751"/>
                  </a:lnTo>
                  <a:lnTo>
                    <a:pt x="522555" y="519054"/>
                  </a:lnTo>
                  <a:lnTo>
                    <a:pt x="487476" y="378770"/>
                  </a:lnTo>
                  <a:lnTo>
                    <a:pt x="536577" y="284069"/>
                  </a:lnTo>
                  <a:lnTo>
                    <a:pt x="487476" y="199906"/>
                  </a:lnTo>
                  <a:lnTo>
                    <a:pt x="438375" y="220947"/>
                  </a:lnTo>
                  <a:lnTo>
                    <a:pt x="326151" y="564637"/>
                  </a:lnTo>
                  <a:lnTo>
                    <a:pt x="234968" y="655820"/>
                  </a:lnTo>
                  <a:lnTo>
                    <a:pt x="340190" y="739983"/>
                  </a:lnTo>
                  <a:lnTo>
                    <a:pt x="322650" y="775063"/>
                  </a:lnTo>
                  <a:lnTo>
                    <a:pt x="234968" y="820646"/>
                  </a:lnTo>
                  <a:lnTo>
                    <a:pt x="122744" y="803124"/>
                  </a:lnTo>
                  <a:lnTo>
                    <a:pt x="56103" y="824164"/>
                  </a:lnTo>
                  <a:lnTo>
                    <a:pt x="101703" y="887287"/>
                  </a:lnTo>
                  <a:lnTo>
                    <a:pt x="0" y="904827"/>
                  </a:lnTo>
                  <a:lnTo>
                    <a:pt x="115725" y="971451"/>
                  </a:lnTo>
                  <a:lnTo>
                    <a:pt x="280568" y="957342"/>
                  </a:lnTo>
                  <a:lnTo>
                    <a:pt x="336671" y="887287"/>
                  </a:lnTo>
                  <a:lnTo>
                    <a:pt x="508517" y="908328"/>
                  </a:lnTo>
                  <a:lnTo>
                    <a:pt x="526056" y="948572"/>
                  </a:lnTo>
                  <a:lnTo>
                    <a:pt x="687381" y="948572"/>
                  </a:lnTo>
                  <a:lnTo>
                    <a:pt x="704921" y="1041593"/>
                  </a:lnTo>
                  <a:lnTo>
                    <a:pt x="683863" y="1174857"/>
                  </a:lnTo>
                  <a:lnTo>
                    <a:pt x="785584" y="1241498"/>
                  </a:lnTo>
                  <a:close/>
                </a:path>
              </a:pathLst>
            </a:custGeom>
            <a:solidFill>
              <a:srgbClr val="E6E6E6"/>
            </a:solidFill>
            <a:ln w="34617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2BEEDD8-300A-4A2A-9F05-2F0D73CAE6BA}"/>
                </a:ext>
              </a:extLst>
            </p:cNvPr>
            <p:cNvSpPr/>
            <p:nvPr/>
          </p:nvSpPr>
          <p:spPr>
            <a:xfrm>
              <a:off x="9556310" y="3674939"/>
              <a:ext cx="201215" cy="293333"/>
            </a:xfrm>
            <a:custGeom>
              <a:avLst/>
              <a:gdLst>
                <a:gd name="connsiteX0" fmla="*/ 171846 w 224464"/>
                <a:gd name="connsiteY0" fmla="*/ 0 h 327225"/>
                <a:gd name="connsiteX1" fmla="*/ 154323 w 224464"/>
                <a:gd name="connsiteY1" fmla="*/ 115742 h 327225"/>
                <a:gd name="connsiteX2" fmla="*/ 224465 w 224464"/>
                <a:gd name="connsiteY2" fmla="*/ 199906 h 327225"/>
                <a:gd name="connsiteX3" fmla="*/ 152780 w 224464"/>
                <a:gd name="connsiteY3" fmla="*/ 327226 h 327225"/>
                <a:gd name="connsiteX4" fmla="*/ 49118 w 224464"/>
                <a:gd name="connsiteY4" fmla="*/ 325336 h 327225"/>
                <a:gd name="connsiteX5" fmla="*/ 0 w 224464"/>
                <a:gd name="connsiteY5" fmla="*/ 203407 h 327225"/>
                <a:gd name="connsiteX6" fmla="*/ 56121 w 224464"/>
                <a:gd name="connsiteY6" fmla="*/ 84181 h 327225"/>
                <a:gd name="connsiteX7" fmla="*/ 171846 w 224464"/>
                <a:gd name="connsiteY7" fmla="*/ 0 h 327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4464" h="327225">
                  <a:moveTo>
                    <a:pt x="171846" y="0"/>
                  </a:moveTo>
                  <a:lnTo>
                    <a:pt x="154323" y="115742"/>
                  </a:lnTo>
                  <a:lnTo>
                    <a:pt x="224465" y="199906"/>
                  </a:lnTo>
                  <a:lnTo>
                    <a:pt x="152780" y="327226"/>
                  </a:lnTo>
                  <a:lnTo>
                    <a:pt x="49118" y="325336"/>
                  </a:lnTo>
                  <a:lnTo>
                    <a:pt x="0" y="203407"/>
                  </a:lnTo>
                  <a:lnTo>
                    <a:pt x="56121" y="84181"/>
                  </a:lnTo>
                  <a:lnTo>
                    <a:pt x="171846" y="0"/>
                  </a:lnTo>
                  <a:close/>
                </a:path>
              </a:pathLst>
            </a:custGeom>
            <a:solidFill>
              <a:srgbClr val="E6E6E6"/>
            </a:solidFill>
            <a:ln w="34617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8573153-2D37-4DBE-99B5-A1A8ED78FC5C}"/>
                </a:ext>
              </a:extLst>
            </p:cNvPr>
            <p:cNvSpPr/>
            <p:nvPr/>
          </p:nvSpPr>
          <p:spPr>
            <a:xfrm>
              <a:off x="9656926" y="1854686"/>
              <a:ext cx="2256493" cy="2897771"/>
            </a:xfrm>
            <a:custGeom>
              <a:avLst/>
              <a:gdLst>
                <a:gd name="connsiteX0" fmla="*/ 40539 w 2517209"/>
                <a:gd name="connsiteY0" fmla="*/ 2357791 h 3232581"/>
                <a:gd name="connsiteX1" fmla="*/ 112224 w 2517209"/>
                <a:gd name="connsiteY1" fmla="*/ 2230471 h 3232581"/>
                <a:gd name="connsiteX2" fmla="*/ 42082 w 2517209"/>
                <a:gd name="connsiteY2" fmla="*/ 2146308 h 3232581"/>
                <a:gd name="connsiteX3" fmla="*/ 59604 w 2517209"/>
                <a:gd name="connsiteY3" fmla="*/ 2030566 h 3232581"/>
                <a:gd name="connsiteX4" fmla="*/ 0 w 2517209"/>
                <a:gd name="connsiteY4" fmla="*/ 1844699 h 3232581"/>
                <a:gd name="connsiteX5" fmla="*/ 59604 w 2517209"/>
                <a:gd name="connsiteY5" fmla="*/ 1522049 h 3232581"/>
                <a:gd name="connsiteX6" fmla="*/ 0 w 2517209"/>
                <a:gd name="connsiteY6" fmla="*/ 1311623 h 3232581"/>
                <a:gd name="connsiteX7" fmla="*/ 175346 w 2517209"/>
                <a:gd name="connsiteY7" fmla="*/ 1269541 h 3232581"/>
                <a:gd name="connsiteX8" fmla="*/ 284069 w 2517209"/>
                <a:gd name="connsiteY8" fmla="*/ 1041593 h 3232581"/>
                <a:gd name="connsiteX9" fmla="*/ 210409 w 2517209"/>
                <a:gd name="connsiteY9" fmla="*/ 1006513 h 3232581"/>
                <a:gd name="connsiteX10" fmla="*/ 213927 w 2517209"/>
                <a:gd name="connsiteY10" fmla="*/ 953911 h 3232581"/>
                <a:gd name="connsiteX11" fmla="*/ 308611 w 2517209"/>
                <a:gd name="connsiteY11" fmla="*/ 925850 h 3232581"/>
                <a:gd name="connsiteX12" fmla="*/ 340172 w 2517209"/>
                <a:gd name="connsiteY12" fmla="*/ 732964 h 3232581"/>
                <a:gd name="connsiteX13" fmla="*/ 420835 w 2517209"/>
                <a:gd name="connsiteY13" fmla="*/ 571639 h 3232581"/>
                <a:gd name="connsiteX14" fmla="*/ 550599 w 2517209"/>
                <a:gd name="connsiteY14" fmla="*/ 540078 h 3232581"/>
                <a:gd name="connsiteX15" fmla="*/ 613721 w 2517209"/>
                <a:gd name="connsiteY15" fmla="*/ 631261 h 3232581"/>
                <a:gd name="connsiteX16" fmla="*/ 687364 w 2517209"/>
                <a:gd name="connsiteY16" fmla="*/ 638280 h 3232581"/>
                <a:gd name="connsiteX17" fmla="*/ 764526 w 2517209"/>
                <a:gd name="connsiteY17" fmla="*/ 445394 h 3232581"/>
                <a:gd name="connsiteX18" fmla="*/ 901309 w 2517209"/>
                <a:gd name="connsiteY18" fmla="*/ 462917 h 3232581"/>
                <a:gd name="connsiteX19" fmla="*/ 943391 w 2517209"/>
                <a:gd name="connsiteY19" fmla="*/ 505016 h 3232581"/>
                <a:gd name="connsiteX20" fmla="*/ 1006513 w 2517209"/>
                <a:gd name="connsiteY20" fmla="*/ 501497 h 3232581"/>
                <a:gd name="connsiteX21" fmla="*/ 932870 w 2517209"/>
                <a:gd name="connsiteY21" fmla="*/ 371734 h 3232581"/>
                <a:gd name="connsiteX22" fmla="*/ 827648 w 2517209"/>
                <a:gd name="connsiteY22" fmla="*/ 319132 h 3232581"/>
                <a:gd name="connsiteX23" fmla="*/ 764526 w 2517209"/>
                <a:gd name="connsiteY23" fmla="*/ 0 h 3232581"/>
                <a:gd name="connsiteX24" fmla="*/ 1073154 w 2517209"/>
                <a:gd name="connsiteY24" fmla="*/ 0 h 3232581"/>
                <a:gd name="connsiteX25" fmla="*/ 1118737 w 2517209"/>
                <a:gd name="connsiteY25" fmla="*/ 147286 h 3232581"/>
                <a:gd name="connsiteX26" fmla="*/ 1346703 w 2517209"/>
                <a:gd name="connsiteY26" fmla="*/ 206908 h 3232581"/>
                <a:gd name="connsiteX27" fmla="*/ 1346703 w 2517209"/>
                <a:gd name="connsiteY27" fmla="*/ 343691 h 3232581"/>
                <a:gd name="connsiteX28" fmla="*/ 1471388 w 2517209"/>
                <a:gd name="connsiteY28" fmla="*/ 360537 h 3232581"/>
                <a:gd name="connsiteX29" fmla="*/ 1784609 w 2517209"/>
                <a:gd name="connsiteY29" fmla="*/ 126956 h 3232581"/>
                <a:gd name="connsiteX30" fmla="*/ 2225220 w 2517209"/>
                <a:gd name="connsiteY30" fmla="*/ 371162 h 3232581"/>
                <a:gd name="connsiteX31" fmla="*/ 2278325 w 2517209"/>
                <a:gd name="connsiteY31" fmla="*/ 689687 h 3232581"/>
                <a:gd name="connsiteX32" fmla="*/ 2214613 w 2517209"/>
                <a:gd name="connsiteY32" fmla="*/ 833021 h 3232581"/>
                <a:gd name="connsiteX33" fmla="*/ 2241148 w 2517209"/>
                <a:gd name="connsiteY33" fmla="*/ 870181 h 3232581"/>
                <a:gd name="connsiteX34" fmla="*/ 2384499 w 2517209"/>
                <a:gd name="connsiteY34" fmla="*/ 886108 h 3232581"/>
                <a:gd name="connsiteX35" fmla="*/ 2384499 w 2517209"/>
                <a:gd name="connsiteY35" fmla="*/ 1040067 h 3232581"/>
                <a:gd name="connsiteX36" fmla="*/ 2517210 w 2517209"/>
                <a:gd name="connsiteY36" fmla="*/ 1443536 h 3232581"/>
                <a:gd name="connsiteX37" fmla="*/ 2517210 w 2517209"/>
                <a:gd name="connsiteY37" fmla="*/ 1613076 h 3232581"/>
                <a:gd name="connsiteX38" fmla="*/ 1858929 w 2517209"/>
                <a:gd name="connsiteY38" fmla="*/ 1963786 h 3232581"/>
                <a:gd name="connsiteX39" fmla="*/ 1805841 w 2517209"/>
                <a:gd name="connsiteY39" fmla="*/ 2138976 h 3232581"/>
                <a:gd name="connsiteX40" fmla="*/ 1912016 w 2517209"/>
                <a:gd name="connsiteY40" fmla="*/ 2404414 h 3232581"/>
                <a:gd name="connsiteX41" fmla="*/ 2310163 w 2517209"/>
                <a:gd name="connsiteY41" fmla="*/ 2579604 h 3232581"/>
                <a:gd name="connsiteX42" fmla="*/ 2283628 w 2517209"/>
                <a:gd name="connsiteY42" fmla="*/ 2717635 h 3232581"/>
                <a:gd name="connsiteX43" fmla="*/ 2018191 w 2517209"/>
                <a:gd name="connsiteY43" fmla="*/ 2919360 h 3232581"/>
                <a:gd name="connsiteX44" fmla="*/ 1981031 w 2517209"/>
                <a:gd name="connsiteY44" fmla="*/ 3094551 h 3232581"/>
                <a:gd name="connsiteX45" fmla="*/ 1519155 w 2517209"/>
                <a:gd name="connsiteY45" fmla="*/ 3232582 h 3232581"/>
                <a:gd name="connsiteX46" fmla="*/ 951120 w 2517209"/>
                <a:gd name="connsiteY46" fmla="*/ 3179494 h 3232581"/>
                <a:gd name="connsiteX47" fmla="*/ 458376 w 2517209"/>
                <a:gd name="connsiteY47" fmla="*/ 3200223 h 3232581"/>
                <a:gd name="connsiteX48" fmla="*/ 579699 w 2517209"/>
                <a:gd name="connsiteY48" fmla="*/ 2583556 h 3232581"/>
                <a:gd name="connsiteX49" fmla="*/ 151740 w 2517209"/>
                <a:gd name="connsiteY49" fmla="*/ 2509428 h 3232581"/>
                <a:gd name="connsiteX50" fmla="*/ 40539 w 2517209"/>
                <a:gd name="connsiteY50" fmla="*/ 2357791 h 3232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2517209" h="3232581">
                  <a:moveTo>
                    <a:pt x="40539" y="2357791"/>
                  </a:moveTo>
                  <a:lnTo>
                    <a:pt x="112224" y="2230471"/>
                  </a:lnTo>
                  <a:lnTo>
                    <a:pt x="42082" y="2146308"/>
                  </a:lnTo>
                  <a:lnTo>
                    <a:pt x="59604" y="2030566"/>
                  </a:lnTo>
                  <a:lnTo>
                    <a:pt x="0" y="1844699"/>
                  </a:lnTo>
                  <a:lnTo>
                    <a:pt x="59604" y="1522049"/>
                  </a:lnTo>
                  <a:lnTo>
                    <a:pt x="0" y="1311623"/>
                  </a:lnTo>
                  <a:lnTo>
                    <a:pt x="175346" y="1269541"/>
                  </a:lnTo>
                  <a:lnTo>
                    <a:pt x="284069" y="1041593"/>
                  </a:lnTo>
                  <a:lnTo>
                    <a:pt x="210409" y="1006513"/>
                  </a:lnTo>
                  <a:lnTo>
                    <a:pt x="213927" y="953911"/>
                  </a:lnTo>
                  <a:lnTo>
                    <a:pt x="308611" y="925850"/>
                  </a:lnTo>
                  <a:lnTo>
                    <a:pt x="340172" y="732964"/>
                  </a:lnTo>
                  <a:lnTo>
                    <a:pt x="420835" y="571639"/>
                  </a:lnTo>
                  <a:lnTo>
                    <a:pt x="550599" y="540078"/>
                  </a:lnTo>
                  <a:lnTo>
                    <a:pt x="613721" y="631261"/>
                  </a:lnTo>
                  <a:lnTo>
                    <a:pt x="687364" y="638280"/>
                  </a:lnTo>
                  <a:lnTo>
                    <a:pt x="764526" y="445394"/>
                  </a:lnTo>
                  <a:lnTo>
                    <a:pt x="901309" y="462917"/>
                  </a:lnTo>
                  <a:lnTo>
                    <a:pt x="943391" y="505016"/>
                  </a:lnTo>
                  <a:lnTo>
                    <a:pt x="1006513" y="501497"/>
                  </a:lnTo>
                  <a:lnTo>
                    <a:pt x="932870" y="371734"/>
                  </a:lnTo>
                  <a:lnTo>
                    <a:pt x="827648" y="319132"/>
                  </a:lnTo>
                  <a:lnTo>
                    <a:pt x="764526" y="0"/>
                  </a:lnTo>
                  <a:lnTo>
                    <a:pt x="1073154" y="0"/>
                  </a:lnTo>
                  <a:lnTo>
                    <a:pt x="1118737" y="147286"/>
                  </a:lnTo>
                  <a:lnTo>
                    <a:pt x="1346703" y="206908"/>
                  </a:lnTo>
                  <a:lnTo>
                    <a:pt x="1346703" y="343691"/>
                  </a:lnTo>
                  <a:lnTo>
                    <a:pt x="1471388" y="360537"/>
                  </a:lnTo>
                  <a:lnTo>
                    <a:pt x="1784609" y="126956"/>
                  </a:lnTo>
                  <a:lnTo>
                    <a:pt x="2225220" y="371162"/>
                  </a:lnTo>
                  <a:lnTo>
                    <a:pt x="2278325" y="689687"/>
                  </a:lnTo>
                  <a:lnTo>
                    <a:pt x="2214613" y="833021"/>
                  </a:lnTo>
                  <a:lnTo>
                    <a:pt x="2241148" y="870181"/>
                  </a:lnTo>
                  <a:lnTo>
                    <a:pt x="2384499" y="886108"/>
                  </a:lnTo>
                  <a:lnTo>
                    <a:pt x="2384499" y="1040067"/>
                  </a:lnTo>
                  <a:lnTo>
                    <a:pt x="2517210" y="1443536"/>
                  </a:lnTo>
                  <a:lnTo>
                    <a:pt x="2517210" y="1613076"/>
                  </a:lnTo>
                  <a:lnTo>
                    <a:pt x="1858929" y="1963786"/>
                  </a:lnTo>
                  <a:lnTo>
                    <a:pt x="1805841" y="2138976"/>
                  </a:lnTo>
                  <a:lnTo>
                    <a:pt x="1912016" y="2404414"/>
                  </a:lnTo>
                  <a:lnTo>
                    <a:pt x="2310163" y="2579604"/>
                  </a:lnTo>
                  <a:lnTo>
                    <a:pt x="2283628" y="2717635"/>
                  </a:lnTo>
                  <a:lnTo>
                    <a:pt x="2018191" y="2919360"/>
                  </a:lnTo>
                  <a:lnTo>
                    <a:pt x="1981031" y="3094551"/>
                  </a:lnTo>
                  <a:lnTo>
                    <a:pt x="1519155" y="3232582"/>
                  </a:lnTo>
                  <a:lnTo>
                    <a:pt x="951120" y="3179494"/>
                  </a:lnTo>
                  <a:lnTo>
                    <a:pt x="458376" y="3200223"/>
                  </a:lnTo>
                  <a:lnTo>
                    <a:pt x="579699" y="2583556"/>
                  </a:lnTo>
                  <a:lnTo>
                    <a:pt x="151740" y="2509428"/>
                  </a:lnTo>
                  <a:lnTo>
                    <a:pt x="40539" y="2357791"/>
                  </a:lnTo>
                  <a:close/>
                </a:path>
              </a:pathLst>
            </a:custGeom>
            <a:solidFill>
              <a:srgbClr val="E6E6E6"/>
            </a:solidFill>
            <a:ln w="34617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18" name="Groep 17">
              <a:extLst>
                <a:ext uri="{FF2B5EF4-FFF2-40B4-BE49-F238E27FC236}">
                  <a16:creationId xmlns:a16="http://schemas.microsoft.com/office/drawing/2014/main" id="{213BFE84-30A5-EEDD-E26B-DB85844E2512}"/>
                </a:ext>
              </a:extLst>
            </p:cNvPr>
            <p:cNvGrpSpPr/>
            <p:nvPr/>
          </p:nvGrpSpPr>
          <p:grpSpPr>
            <a:xfrm>
              <a:off x="6331707" y="101600"/>
              <a:ext cx="2202177" cy="3342044"/>
              <a:chOff x="6331707" y="101600"/>
              <a:chExt cx="2202177" cy="3342044"/>
            </a:xfrm>
          </p:grpSpPr>
          <p:sp>
            <p:nvSpPr>
              <p:cNvPr id="25" name="Freeform: Shape 24">
                <a:hlinkClick r:id="" action="ppaction://noaction"/>
                <a:extLst>
                  <a:ext uri="{FF2B5EF4-FFF2-40B4-BE49-F238E27FC236}">
                    <a16:creationId xmlns:a16="http://schemas.microsoft.com/office/drawing/2014/main" id="{1976AEE9-258C-4119-B934-14112B560D6B}"/>
                  </a:ext>
                </a:extLst>
              </p:cNvPr>
              <p:cNvSpPr/>
              <p:nvPr/>
            </p:nvSpPr>
            <p:spPr>
              <a:xfrm>
                <a:off x="6653986" y="101600"/>
                <a:ext cx="1879898" cy="3342044"/>
              </a:xfrm>
              <a:custGeom>
                <a:avLst/>
                <a:gdLst>
                  <a:gd name="connsiteX0" fmla="*/ 0 w 2097102"/>
                  <a:gd name="connsiteY0" fmla="*/ 3633988 h 3728186"/>
                  <a:gd name="connsiteX1" fmla="*/ 94181 w 2097102"/>
                  <a:gd name="connsiteY1" fmla="*/ 3728186 h 3728186"/>
                  <a:gd name="connsiteX2" fmla="*/ 713899 w 2097102"/>
                  <a:gd name="connsiteY2" fmla="*/ 3568716 h 3728186"/>
                  <a:gd name="connsiteX3" fmla="*/ 1650911 w 2097102"/>
                  <a:gd name="connsiteY3" fmla="*/ 3648460 h 3728186"/>
                  <a:gd name="connsiteX4" fmla="*/ 1990304 w 2097102"/>
                  <a:gd name="connsiteY4" fmla="*/ 3505091 h 3728186"/>
                  <a:gd name="connsiteX5" fmla="*/ 1990304 w 2097102"/>
                  <a:gd name="connsiteY5" fmla="*/ 3415849 h 3728186"/>
                  <a:gd name="connsiteX6" fmla="*/ 1764938 w 2097102"/>
                  <a:gd name="connsiteY6" fmla="*/ 3316711 h 3728186"/>
                  <a:gd name="connsiteX7" fmla="*/ 2077275 w 2097102"/>
                  <a:gd name="connsiteY7" fmla="*/ 3103529 h 3728186"/>
                  <a:gd name="connsiteX8" fmla="*/ 2097103 w 2097102"/>
                  <a:gd name="connsiteY8" fmla="*/ 2761433 h 3728186"/>
                  <a:gd name="connsiteX9" fmla="*/ 1943404 w 2097102"/>
                  <a:gd name="connsiteY9" fmla="*/ 2677165 h 3728186"/>
                  <a:gd name="connsiteX10" fmla="*/ 1740153 w 2097102"/>
                  <a:gd name="connsiteY10" fmla="*/ 2716803 h 3728186"/>
                  <a:gd name="connsiteX11" fmla="*/ 1561670 w 2097102"/>
                  <a:gd name="connsiteY11" fmla="*/ 1955640 h 3728186"/>
                  <a:gd name="connsiteX12" fmla="*/ 1447643 w 2097102"/>
                  <a:gd name="connsiteY12" fmla="*/ 1869050 h 3728186"/>
                  <a:gd name="connsiteX13" fmla="*/ 1373272 w 2097102"/>
                  <a:gd name="connsiteY13" fmla="*/ 1407988 h 3728186"/>
                  <a:gd name="connsiteX14" fmla="*/ 1110521 w 2097102"/>
                  <a:gd name="connsiteY14" fmla="*/ 1239418 h 3728186"/>
                  <a:gd name="connsiteX15" fmla="*/ 1016323 w 2097102"/>
                  <a:gd name="connsiteY15" fmla="*/ 1125392 h 3728186"/>
                  <a:gd name="connsiteX16" fmla="*/ 1204720 w 2097102"/>
                  <a:gd name="connsiteY16" fmla="*/ 981624 h 3728186"/>
                  <a:gd name="connsiteX17" fmla="*/ 1417902 w 2097102"/>
                  <a:gd name="connsiteY17" fmla="*/ 585002 h 3728186"/>
                  <a:gd name="connsiteX18" fmla="*/ 1209677 w 2097102"/>
                  <a:gd name="connsiteY18" fmla="*/ 451148 h 3728186"/>
                  <a:gd name="connsiteX19" fmla="*/ 917167 w 2097102"/>
                  <a:gd name="connsiteY19" fmla="*/ 485847 h 3728186"/>
                  <a:gd name="connsiteX20" fmla="*/ 996495 w 2097102"/>
                  <a:gd name="connsiteY20" fmla="*/ 267708 h 3728186"/>
                  <a:gd name="connsiteX21" fmla="*/ 1199763 w 2097102"/>
                  <a:gd name="connsiteY21" fmla="*/ 109069 h 3728186"/>
                  <a:gd name="connsiteX22" fmla="*/ 852710 w 2097102"/>
                  <a:gd name="connsiteY22" fmla="*/ 0 h 3728186"/>
                  <a:gd name="connsiteX23" fmla="*/ 560218 w 2097102"/>
                  <a:gd name="connsiteY23" fmla="*/ 401579 h 3728186"/>
                  <a:gd name="connsiteX24" fmla="*/ 441234 w 2097102"/>
                  <a:gd name="connsiteY24" fmla="*/ 857684 h 3728186"/>
                  <a:gd name="connsiteX25" fmla="*/ 565175 w 2097102"/>
                  <a:gd name="connsiteY25" fmla="*/ 1179936 h 3728186"/>
                  <a:gd name="connsiteX26" fmla="*/ 461062 w 2097102"/>
                  <a:gd name="connsiteY26" fmla="*/ 1640997 h 3728186"/>
                  <a:gd name="connsiteX27" fmla="*/ 912210 w 2097102"/>
                  <a:gd name="connsiteY27" fmla="*/ 1665782 h 3728186"/>
                  <a:gd name="connsiteX28" fmla="*/ 768443 w 2097102"/>
                  <a:gd name="connsiteY28" fmla="*/ 1834352 h 3728186"/>
                  <a:gd name="connsiteX29" fmla="*/ 827925 w 2097102"/>
                  <a:gd name="connsiteY29" fmla="*/ 2037620 h 3728186"/>
                  <a:gd name="connsiteX30" fmla="*/ 1006409 w 2097102"/>
                  <a:gd name="connsiteY30" fmla="*/ 2027706 h 3728186"/>
                  <a:gd name="connsiteX31" fmla="*/ 882469 w 2097102"/>
                  <a:gd name="connsiteY31" fmla="*/ 2478854 h 3728186"/>
                  <a:gd name="connsiteX32" fmla="*/ 555261 w 2097102"/>
                  <a:gd name="connsiteY32" fmla="*/ 2340043 h 3728186"/>
                  <a:gd name="connsiteX33" fmla="*/ 366863 w 2097102"/>
                  <a:gd name="connsiteY33" fmla="*/ 2558841 h 3728186"/>
                  <a:gd name="connsiteX34" fmla="*/ 540390 w 2097102"/>
                  <a:gd name="connsiteY34" fmla="*/ 2622622 h 3728186"/>
                  <a:gd name="connsiteX35" fmla="*/ 485847 w 2097102"/>
                  <a:gd name="connsiteY35" fmla="*/ 2855631 h 3728186"/>
                  <a:gd name="connsiteX36" fmla="*/ 183423 w 2097102"/>
                  <a:gd name="connsiteY36" fmla="*/ 2954787 h 3728186"/>
                  <a:gd name="connsiteX37" fmla="*/ 228053 w 2097102"/>
                  <a:gd name="connsiteY37" fmla="*/ 3108486 h 3728186"/>
                  <a:gd name="connsiteX38" fmla="*/ 456105 w 2097102"/>
                  <a:gd name="connsiteY38" fmla="*/ 3103529 h 3728186"/>
                  <a:gd name="connsiteX39" fmla="*/ 867598 w 2097102"/>
                  <a:gd name="connsiteY39" fmla="*/ 3202667 h 3728186"/>
                  <a:gd name="connsiteX40" fmla="*/ 773399 w 2097102"/>
                  <a:gd name="connsiteY40" fmla="*/ 3346452 h 3728186"/>
                  <a:gd name="connsiteX41" fmla="*/ 461062 w 2097102"/>
                  <a:gd name="connsiteY41" fmla="*/ 3326624 h 3728186"/>
                  <a:gd name="connsiteX42" fmla="*/ 0 w 2097102"/>
                  <a:gd name="connsiteY42" fmla="*/ 3633988 h 3728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2097102" h="3728186">
                    <a:moveTo>
                      <a:pt x="0" y="3633988"/>
                    </a:moveTo>
                    <a:lnTo>
                      <a:pt x="94181" y="3728186"/>
                    </a:lnTo>
                    <a:lnTo>
                      <a:pt x="713899" y="3568716"/>
                    </a:lnTo>
                    <a:lnTo>
                      <a:pt x="1650911" y="3648460"/>
                    </a:lnTo>
                    <a:lnTo>
                      <a:pt x="1990304" y="3505091"/>
                    </a:lnTo>
                    <a:lnTo>
                      <a:pt x="1990304" y="3415849"/>
                    </a:lnTo>
                    <a:lnTo>
                      <a:pt x="1764938" y="3316711"/>
                    </a:lnTo>
                    <a:lnTo>
                      <a:pt x="2077275" y="3103529"/>
                    </a:lnTo>
                    <a:lnTo>
                      <a:pt x="2097103" y="2761433"/>
                    </a:lnTo>
                    <a:lnTo>
                      <a:pt x="1943404" y="2677165"/>
                    </a:lnTo>
                    <a:lnTo>
                      <a:pt x="1740153" y="2716803"/>
                    </a:lnTo>
                    <a:lnTo>
                      <a:pt x="1561670" y="1955640"/>
                    </a:lnTo>
                    <a:lnTo>
                      <a:pt x="1447643" y="1869050"/>
                    </a:lnTo>
                    <a:lnTo>
                      <a:pt x="1373272" y="1407988"/>
                    </a:lnTo>
                    <a:lnTo>
                      <a:pt x="1110521" y="1239418"/>
                    </a:lnTo>
                    <a:lnTo>
                      <a:pt x="1016323" y="1125392"/>
                    </a:lnTo>
                    <a:lnTo>
                      <a:pt x="1204720" y="981624"/>
                    </a:lnTo>
                    <a:lnTo>
                      <a:pt x="1417902" y="585002"/>
                    </a:lnTo>
                    <a:lnTo>
                      <a:pt x="1209677" y="451148"/>
                    </a:lnTo>
                    <a:lnTo>
                      <a:pt x="917167" y="485847"/>
                    </a:lnTo>
                    <a:lnTo>
                      <a:pt x="996495" y="267708"/>
                    </a:lnTo>
                    <a:lnTo>
                      <a:pt x="1199763" y="109069"/>
                    </a:lnTo>
                    <a:lnTo>
                      <a:pt x="852710" y="0"/>
                    </a:lnTo>
                    <a:lnTo>
                      <a:pt x="560218" y="401579"/>
                    </a:lnTo>
                    <a:lnTo>
                      <a:pt x="441234" y="857684"/>
                    </a:lnTo>
                    <a:lnTo>
                      <a:pt x="565175" y="1179936"/>
                    </a:lnTo>
                    <a:lnTo>
                      <a:pt x="461062" y="1640997"/>
                    </a:lnTo>
                    <a:lnTo>
                      <a:pt x="912210" y="1665782"/>
                    </a:lnTo>
                    <a:lnTo>
                      <a:pt x="768443" y="1834352"/>
                    </a:lnTo>
                    <a:lnTo>
                      <a:pt x="827925" y="2037620"/>
                    </a:lnTo>
                    <a:lnTo>
                      <a:pt x="1006409" y="2027706"/>
                    </a:lnTo>
                    <a:lnTo>
                      <a:pt x="882469" y="2478854"/>
                    </a:lnTo>
                    <a:lnTo>
                      <a:pt x="555261" y="2340043"/>
                    </a:lnTo>
                    <a:lnTo>
                      <a:pt x="366863" y="2558841"/>
                    </a:lnTo>
                    <a:lnTo>
                      <a:pt x="540390" y="2622622"/>
                    </a:lnTo>
                    <a:lnTo>
                      <a:pt x="485847" y="2855631"/>
                    </a:lnTo>
                    <a:lnTo>
                      <a:pt x="183423" y="2954787"/>
                    </a:lnTo>
                    <a:lnTo>
                      <a:pt x="228053" y="3108486"/>
                    </a:lnTo>
                    <a:lnTo>
                      <a:pt x="456105" y="3103529"/>
                    </a:lnTo>
                    <a:lnTo>
                      <a:pt x="867598" y="3202667"/>
                    </a:lnTo>
                    <a:lnTo>
                      <a:pt x="773399" y="3346452"/>
                    </a:lnTo>
                    <a:lnTo>
                      <a:pt x="461062" y="3326624"/>
                    </a:lnTo>
                    <a:lnTo>
                      <a:pt x="0" y="3633988"/>
                    </a:lnTo>
                    <a:close/>
                  </a:path>
                </a:pathLst>
              </a:custGeom>
              <a:solidFill>
                <a:srgbClr val="E6E6E6"/>
              </a:solidFill>
              <a:ln w="34617" cap="rnd">
                <a:solidFill>
                  <a:srgbClr val="FFFF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6" name="Freeform: Shape 25">
                <a:hlinkClick r:id="" action="ppaction://noaction"/>
                <a:extLst>
                  <a:ext uri="{FF2B5EF4-FFF2-40B4-BE49-F238E27FC236}">
                    <a16:creationId xmlns:a16="http://schemas.microsoft.com/office/drawing/2014/main" id="{AED4B77F-EC0A-4823-82EE-28FEA59EAA21}"/>
                  </a:ext>
                </a:extLst>
              </p:cNvPr>
              <p:cNvSpPr/>
              <p:nvPr/>
            </p:nvSpPr>
            <p:spPr>
              <a:xfrm>
                <a:off x="6331707" y="1390092"/>
                <a:ext cx="572559" cy="501494"/>
              </a:xfrm>
              <a:custGeom>
                <a:avLst/>
                <a:gdLst>
                  <a:gd name="connsiteX0" fmla="*/ 294451 w 638713"/>
                  <a:gd name="connsiteY0" fmla="*/ 0 h 559437"/>
                  <a:gd name="connsiteX1" fmla="*/ 0 w 638713"/>
                  <a:gd name="connsiteY1" fmla="*/ 203840 h 559437"/>
                  <a:gd name="connsiteX2" fmla="*/ 92864 w 638713"/>
                  <a:gd name="connsiteY2" fmla="*/ 403156 h 559437"/>
                  <a:gd name="connsiteX3" fmla="*/ 255940 w 638713"/>
                  <a:gd name="connsiteY3" fmla="*/ 348804 h 559437"/>
                  <a:gd name="connsiteX4" fmla="*/ 391839 w 638713"/>
                  <a:gd name="connsiteY4" fmla="*/ 559438 h 559437"/>
                  <a:gd name="connsiteX5" fmla="*/ 638714 w 638713"/>
                  <a:gd name="connsiteY5" fmla="*/ 403156 h 559437"/>
                  <a:gd name="connsiteX6" fmla="*/ 559438 w 638713"/>
                  <a:gd name="connsiteY6" fmla="*/ 29447 h 559437"/>
                  <a:gd name="connsiteX7" fmla="*/ 294451 w 638713"/>
                  <a:gd name="connsiteY7" fmla="*/ 0 h 55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38713" h="559437">
                    <a:moveTo>
                      <a:pt x="294451" y="0"/>
                    </a:moveTo>
                    <a:lnTo>
                      <a:pt x="0" y="203840"/>
                    </a:lnTo>
                    <a:lnTo>
                      <a:pt x="92864" y="403156"/>
                    </a:lnTo>
                    <a:lnTo>
                      <a:pt x="255940" y="348804"/>
                    </a:lnTo>
                    <a:lnTo>
                      <a:pt x="391839" y="559438"/>
                    </a:lnTo>
                    <a:lnTo>
                      <a:pt x="638714" y="403156"/>
                    </a:lnTo>
                    <a:lnTo>
                      <a:pt x="559438" y="29447"/>
                    </a:lnTo>
                    <a:lnTo>
                      <a:pt x="294451" y="0"/>
                    </a:lnTo>
                    <a:close/>
                  </a:path>
                </a:pathLst>
              </a:custGeom>
              <a:solidFill>
                <a:srgbClr val="E6E6E6"/>
              </a:solidFill>
              <a:ln w="34617" cap="rnd">
                <a:solidFill>
                  <a:srgbClr val="FFFF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pic>
        <p:nvPicPr>
          <p:cNvPr id="52" name="Afbeelding 51">
            <a:extLst>
              <a:ext uri="{FF2B5EF4-FFF2-40B4-BE49-F238E27FC236}">
                <a16:creationId xmlns:a16="http://schemas.microsoft.com/office/drawing/2014/main" id="{6F0E1A45-A9F1-E418-7252-81B192C6917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2597" y="6152322"/>
            <a:ext cx="465676" cy="480312"/>
          </a:xfrm>
          <a:prstGeom prst="rect">
            <a:avLst/>
          </a:prstGeom>
        </p:spPr>
      </p:pic>
      <p:sp>
        <p:nvSpPr>
          <p:cNvPr id="65" name="Tekstvak 64">
            <a:extLst>
              <a:ext uri="{FF2B5EF4-FFF2-40B4-BE49-F238E27FC236}">
                <a16:creationId xmlns:a16="http://schemas.microsoft.com/office/drawing/2014/main" id="{B461BD27-AEE7-9E09-EB39-83014A4F6359}"/>
              </a:ext>
            </a:extLst>
          </p:cNvPr>
          <p:cNvSpPr txBox="1"/>
          <p:nvPr/>
        </p:nvSpPr>
        <p:spPr>
          <a:xfrm>
            <a:off x="600075" y="1493848"/>
            <a:ext cx="6096000" cy="15081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dirty="0" err="1">
                <a:latin typeface="Museo Sans 900" panose="02000000000000000000" pitchFamily="50" charset="0"/>
              </a:rPr>
              <a:t>Onze</a:t>
            </a:r>
            <a:r>
              <a:rPr lang="en-US" sz="3600" dirty="0">
                <a:latin typeface="Museo Sans 900" panose="02000000000000000000" pitchFamily="50" charset="0"/>
              </a:rPr>
              <a:t> </a:t>
            </a:r>
            <a:r>
              <a:rPr lang="en-US" sz="3600" dirty="0" err="1">
                <a:latin typeface="Museo Sans 900" panose="02000000000000000000" pitchFamily="50" charset="0"/>
              </a:rPr>
              <a:t>productiefaciliteiten</a:t>
            </a:r>
            <a:endParaRPr lang="en-US" sz="3600" dirty="0">
              <a:latin typeface="Museo Sans 900" panose="02000000000000000000" pitchFamily="50" charset="0"/>
            </a:endParaRPr>
          </a:p>
          <a:p>
            <a:pPr marL="0" lvl="1" indent="0">
              <a:buNone/>
            </a:pPr>
            <a:r>
              <a:rPr lang="nl-BE" sz="2800" dirty="0">
                <a:solidFill>
                  <a:srgbClr val="1E377D"/>
                </a:solidFill>
                <a:latin typeface="Museo Sans 100" panose="02000000000000000000" pitchFamily="50" charset="0"/>
              </a:rPr>
              <a:t>State-of-</a:t>
            </a:r>
            <a:r>
              <a:rPr lang="nl-BE" sz="2800" dirty="0" err="1">
                <a:solidFill>
                  <a:srgbClr val="1E377D"/>
                </a:solidFill>
                <a:latin typeface="Museo Sans 100" panose="02000000000000000000" pitchFamily="50" charset="0"/>
              </a:rPr>
              <a:t>the</a:t>
            </a:r>
            <a:r>
              <a:rPr lang="nl-BE" sz="2800" dirty="0">
                <a:solidFill>
                  <a:srgbClr val="1E377D"/>
                </a:solidFill>
                <a:latin typeface="Museo Sans 100" panose="02000000000000000000" pitchFamily="50" charset="0"/>
              </a:rPr>
              <a:t>-art en klaar voor de volgende generatie dranken</a:t>
            </a:r>
            <a:endParaRPr lang="en-US" sz="2800" b="0" dirty="0">
              <a:solidFill>
                <a:srgbClr val="1E377D"/>
              </a:solidFill>
              <a:latin typeface="Museo Sans 100" panose="02000000000000000000" pitchFamily="50" charset="0"/>
            </a:endParaRPr>
          </a:p>
        </p:txBody>
      </p:sp>
      <p:sp>
        <p:nvSpPr>
          <p:cNvPr id="66" name="Tekstvak 65">
            <a:extLst>
              <a:ext uri="{FF2B5EF4-FFF2-40B4-BE49-F238E27FC236}">
                <a16:creationId xmlns:a16="http://schemas.microsoft.com/office/drawing/2014/main" id="{FE1DDC79-A550-F5A0-526A-2C5163FD0BC9}"/>
              </a:ext>
            </a:extLst>
          </p:cNvPr>
          <p:cNvSpPr txBox="1"/>
          <p:nvPr/>
        </p:nvSpPr>
        <p:spPr>
          <a:xfrm>
            <a:off x="666750" y="3402010"/>
            <a:ext cx="5994338" cy="22159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1200"/>
              </a:spcAft>
              <a:buBlip>
                <a:blip r:embed="rId9"/>
              </a:buBlip>
            </a:pPr>
            <a:r>
              <a:rPr lang="nl-BE" dirty="0">
                <a:latin typeface="Museo Sans 100" panose="02000000000000000000" pitchFamily="50" charset="0"/>
              </a:rPr>
              <a:t>150 miljoen euro geïnvesteerd in de afgelopen 10 jaar</a:t>
            </a:r>
          </a:p>
          <a:p>
            <a:pPr marL="285750" indent="-285750">
              <a:spcAft>
                <a:spcPts val="1200"/>
              </a:spcAft>
              <a:buBlip>
                <a:blip r:embed="rId9"/>
              </a:buBlip>
            </a:pPr>
            <a:r>
              <a:rPr lang="nl-BE" dirty="0">
                <a:latin typeface="Museo Sans 100" panose="02000000000000000000" pitchFamily="50" charset="0"/>
              </a:rPr>
              <a:t>Assets in topconditie, certificeringen van de belangrijkste drankspelers</a:t>
            </a:r>
          </a:p>
          <a:p>
            <a:pPr marL="285750" indent="-285750">
              <a:spcAft>
                <a:spcPts val="1200"/>
              </a:spcAft>
              <a:buBlip>
                <a:blip r:embed="rId9"/>
              </a:buBlip>
            </a:pPr>
            <a:r>
              <a:rPr lang="en-US" dirty="0" err="1">
                <a:latin typeface="Museo Sans 100" panose="02000000000000000000" pitchFamily="50" charset="0"/>
              </a:rPr>
              <a:t>Programma's</a:t>
            </a:r>
            <a:r>
              <a:rPr lang="en-US" dirty="0">
                <a:latin typeface="Museo Sans 100" panose="02000000000000000000" pitchFamily="50" charset="0"/>
              </a:rPr>
              <a:t> </a:t>
            </a:r>
            <a:r>
              <a:rPr lang="en-US" dirty="0" err="1">
                <a:latin typeface="Museo Sans 100" panose="02000000000000000000" pitchFamily="50" charset="0"/>
              </a:rPr>
              <a:t>voor</a:t>
            </a:r>
            <a:r>
              <a:rPr lang="en-US" dirty="0">
                <a:latin typeface="Museo Sans 100" panose="02000000000000000000" pitchFamily="50" charset="0"/>
              </a:rPr>
              <a:t> </a:t>
            </a:r>
            <a:r>
              <a:rPr lang="en-US" dirty="0" err="1">
                <a:latin typeface="Museo Sans 100" panose="02000000000000000000" pitchFamily="50" charset="0"/>
              </a:rPr>
              <a:t>voortdurende</a:t>
            </a:r>
            <a:r>
              <a:rPr lang="en-US" dirty="0">
                <a:latin typeface="Museo Sans 100" panose="02000000000000000000" pitchFamily="50" charset="0"/>
              </a:rPr>
              <a:t> </a:t>
            </a:r>
            <a:r>
              <a:rPr lang="en-US" dirty="0" err="1">
                <a:latin typeface="Museo Sans 100" panose="02000000000000000000" pitchFamily="50" charset="0"/>
              </a:rPr>
              <a:t>verbetering</a:t>
            </a:r>
            <a:endParaRPr lang="en-US" dirty="0">
              <a:latin typeface="Museo Sans 100" panose="02000000000000000000" pitchFamily="50" charset="0"/>
            </a:endParaRPr>
          </a:p>
          <a:p>
            <a:pPr marL="285750" indent="-285750">
              <a:spcAft>
                <a:spcPts val="1200"/>
              </a:spcAft>
              <a:buBlip>
                <a:blip r:embed="rId9"/>
              </a:buBlip>
            </a:pPr>
            <a:r>
              <a:rPr lang="nl-BE" dirty="0">
                <a:latin typeface="Museo Sans 900" panose="02000000000000000000" pitchFamily="50" charset="0"/>
              </a:rPr>
              <a:t>NIEUW: Extra investeringen om onze groei te verzekeren</a:t>
            </a:r>
          </a:p>
        </p:txBody>
      </p:sp>
      <p:sp>
        <p:nvSpPr>
          <p:cNvPr id="67" name="Rechthoek 66">
            <a:extLst>
              <a:ext uri="{FF2B5EF4-FFF2-40B4-BE49-F238E27FC236}">
                <a16:creationId xmlns:a16="http://schemas.microsoft.com/office/drawing/2014/main" id="{3B03DE0B-EB7E-4D3F-842E-4833B09A1763}"/>
              </a:ext>
            </a:extLst>
          </p:cNvPr>
          <p:cNvSpPr/>
          <p:nvPr/>
        </p:nvSpPr>
        <p:spPr>
          <a:xfrm flipV="1">
            <a:off x="0" y="1797461"/>
            <a:ext cx="511277" cy="45719"/>
          </a:xfrm>
          <a:prstGeom prst="rect">
            <a:avLst/>
          </a:prstGeom>
          <a:solidFill>
            <a:srgbClr val="FAA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pSp>
        <p:nvGrpSpPr>
          <p:cNvPr id="57" name="Groep 56">
            <a:extLst>
              <a:ext uri="{FF2B5EF4-FFF2-40B4-BE49-F238E27FC236}">
                <a16:creationId xmlns:a16="http://schemas.microsoft.com/office/drawing/2014/main" id="{A1DF21AC-EFD3-9556-483C-564E50D7E93C}"/>
              </a:ext>
            </a:extLst>
          </p:cNvPr>
          <p:cNvGrpSpPr/>
          <p:nvPr/>
        </p:nvGrpSpPr>
        <p:grpSpPr>
          <a:xfrm>
            <a:off x="8295450" y="5471356"/>
            <a:ext cx="1966125" cy="778687"/>
            <a:chOff x="8295450" y="5471356"/>
            <a:chExt cx="1966125" cy="778687"/>
          </a:xfrm>
        </p:grpSpPr>
        <p:grpSp>
          <p:nvGrpSpPr>
            <p:cNvPr id="63" name="Group 37">
              <a:extLst>
                <a:ext uri="{FF2B5EF4-FFF2-40B4-BE49-F238E27FC236}">
                  <a16:creationId xmlns:a16="http://schemas.microsoft.com/office/drawing/2014/main" id="{70527906-8E33-3FCC-3E42-7AC0293A8A1B}"/>
                </a:ext>
              </a:extLst>
            </p:cNvPr>
            <p:cNvGrpSpPr/>
            <p:nvPr/>
          </p:nvGrpSpPr>
          <p:grpSpPr>
            <a:xfrm>
              <a:off x="9616450" y="5922189"/>
              <a:ext cx="132313" cy="327854"/>
              <a:chOff x="8820114" y="1762971"/>
              <a:chExt cx="147600" cy="365734"/>
            </a:xfrm>
          </p:grpSpPr>
          <p:sp>
            <p:nvSpPr>
              <p:cNvPr id="69" name="Oval 38">
                <a:extLst>
                  <a:ext uri="{FF2B5EF4-FFF2-40B4-BE49-F238E27FC236}">
                    <a16:creationId xmlns:a16="http://schemas.microsoft.com/office/drawing/2014/main" id="{AAC6FC48-295A-C9EC-5C0C-7FA27C95E22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820114" y="1981105"/>
                <a:ext cx="147600" cy="1476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70" name="Straight Connector 39">
                <a:extLst>
                  <a:ext uri="{FF2B5EF4-FFF2-40B4-BE49-F238E27FC236}">
                    <a16:creationId xmlns:a16="http://schemas.microsoft.com/office/drawing/2014/main" id="{6190F985-726A-3925-B964-25DE8348BD06}"/>
                  </a:ext>
                </a:extLst>
              </p:cNvPr>
              <p:cNvCxnSpPr>
                <a:cxnSpLocks/>
                <a:endCxn id="69" idx="0"/>
              </p:cNvCxnSpPr>
              <p:nvPr/>
            </p:nvCxnSpPr>
            <p:spPr>
              <a:xfrm>
                <a:off x="8893914" y="1762971"/>
                <a:ext cx="0" cy="252000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4" name="TextBox 61">
              <a:hlinkClick r:id="" action="ppaction://noaction"/>
              <a:extLst>
                <a:ext uri="{FF2B5EF4-FFF2-40B4-BE49-F238E27FC236}">
                  <a16:creationId xmlns:a16="http://schemas.microsoft.com/office/drawing/2014/main" id="{63354FDA-B01F-5482-63FC-42E8C6A8A272}"/>
                </a:ext>
              </a:extLst>
            </p:cNvPr>
            <p:cNvSpPr txBox="1"/>
            <p:nvPr/>
          </p:nvSpPr>
          <p:spPr>
            <a:xfrm>
              <a:off x="8375349" y="5471356"/>
              <a:ext cx="1886226" cy="406379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noAutofit/>
            </a:bodyPr>
            <a:lstStyle/>
            <a:p>
              <a:pPr algn="r">
                <a:lnSpc>
                  <a:spcPct val="84000"/>
                </a:lnSpc>
              </a:pPr>
              <a:r>
                <a:rPr lang="aa-ET" sz="1400" dirty="0" err="1">
                  <a:solidFill>
                    <a:srgbClr val="1E377D"/>
                  </a:solidFill>
                  <a:latin typeface="Museo Sans 900" panose="02000000000000000000" pitchFamily="50" charset="0"/>
                </a:rPr>
                <a:t>Beaucaire</a:t>
              </a:r>
              <a:r>
                <a:rPr lang="aa-ET" sz="1400" dirty="0">
                  <a:solidFill>
                    <a:srgbClr val="1E377D"/>
                  </a:solidFill>
                  <a:latin typeface="Museo Sans 900" panose="02000000000000000000" pitchFamily="50" charset="0"/>
                </a:rPr>
                <a:t> (FR) K6</a:t>
              </a:r>
            </a:p>
            <a:p>
              <a:pPr algn="r">
                <a:lnSpc>
                  <a:spcPct val="84000"/>
                </a:lnSpc>
              </a:pPr>
              <a:r>
                <a:rPr lang="aa-ET" sz="1400" dirty="0">
                  <a:solidFill>
                    <a:srgbClr val="1E377D"/>
                  </a:solidFill>
                  <a:latin typeface="Museo 100" panose="02000000000000000000" pitchFamily="50" charset="0"/>
                </a:rPr>
                <a:t>3 GLAS LI</a:t>
              </a:r>
              <a:r>
                <a:rPr lang="nl-BE" sz="1400" dirty="0">
                  <a:solidFill>
                    <a:srgbClr val="1E377D"/>
                  </a:solidFill>
                  <a:latin typeface="Museo 100" panose="02000000000000000000" pitchFamily="50" charset="0"/>
                </a:rPr>
                <a:t>J</a:t>
              </a:r>
              <a:r>
                <a:rPr lang="aa-ET" sz="1400" dirty="0">
                  <a:solidFill>
                    <a:srgbClr val="1E377D"/>
                  </a:solidFill>
                  <a:latin typeface="Museo 100" panose="02000000000000000000" pitchFamily="50" charset="0"/>
                </a:rPr>
                <a:t>NE</a:t>
              </a:r>
              <a:r>
                <a:rPr lang="nl-BE" sz="1400" dirty="0">
                  <a:solidFill>
                    <a:srgbClr val="1E377D"/>
                  </a:solidFill>
                  <a:latin typeface="Museo 100" panose="02000000000000000000" pitchFamily="50" charset="0"/>
                </a:rPr>
                <a:t>N</a:t>
              </a:r>
              <a:endParaRPr lang="en-GB" sz="1400" dirty="0">
                <a:solidFill>
                  <a:srgbClr val="1E377D"/>
                </a:solidFill>
                <a:latin typeface="Museo 100" panose="02000000000000000000" pitchFamily="50" charset="0"/>
              </a:endParaRPr>
            </a:p>
          </p:txBody>
        </p:sp>
        <p:pic>
          <p:nvPicPr>
            <p:cNvPr id="68" name="Picture 47">
              <a:extLst>
                <a:ext uri="{FF2B5EF4-FFF2-40B4-BE49-F238E27FC236}">
                  <a16:creationId xmlns:a16="http://schemas.microsoft.com/office/drawing/2014/main" id="{5078A2C9-5A75-C963-826E-DD6C3F28BEE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95450" y="5492050"/>
              <a:ext cx="361950" cy="240204"/>
            </a:xfrm>
            <a:prstGeom prst="rect">
              <a:avLst/>
            </a:prstGeom>
          </p:spPr>
        </p:pic>
      </p:grpSp>
      <p:grpSp>
        <p:nvGrpSpPr>
          <p:cNvPr id="71" name="Groep 70">
            <a:extLst>
              <a:ext uri="{FF2B5EF4-FFF2-40B4-BE49-F238E27FC236}">
                <a16:creationId xmlns:a16="http://schemas.microsoft.com/office/drawing/2014/main" id="{5C449E91-B895-15D4-023D-BBBD0ABE2ACC}"/>
              </a:ext>
            </a:extLst>
          </p:cNvPr>
          <p:cNvGrpSpPr/>
          <p:nvPr/>
        </p:nvGrpSpPr>
        <p:grpSpPr>
          <a:xfrm>
            <a:off x="6699490" y="1782652"/>
            <a:ext cx="1863275" cy="939247"/>
            <a:chOff x="6638530" y="1782652"/>
            <a:chExt cx="1863275" cy="939247"/>
          </a:xfrm>
        </p:grpSpPr>
        <p:grpSp>
          <p:nvGrpSpPr>
            <p:cNvPr id="72" name="Group 33">
              <a:extLst>
                <a:ext uri="{FF2B5EF4-FFF2-40B4-BE49-F238E27FC236}">
                  <a16:creationId xmlns:a16="http://schemas.microsoft.com/office/drawing/2014/main" id="{CDBF536A-EBCC-BC9E-F4FC-B1FC74AAE9C4}"/>
                </a:ext>
              </a:extLst>
            </p:cNvPr>
            <p:cNvGrpSpPr/>
            <p:nvPr/>
          </p:nvGrpSpPr>
          <p:grpSpPr>
            <a:xfrm>
              <a:off x="8271917" y="2418359"/>
              <a:ext cx="107999" cy="303540"/>
              <a:chOff x="8820113" y="1762971"/>
              <a:chExt cx="120477" cy="338611"/>
            </a:xfrm>
          </p:grpSpPr>
          <p:sp>
            <p:nvSpPr>
              <p:cNvPr id="75" name="Oval 28">
                <a:extLst>
                  <a:ext uri="{FF2B5EF4-FFF2-40B4-BE49-F238E27FC236}">
                    <a16:creationId xmlns:a16="http://schemas.microsoft.com/office/drawing/2014/main" id="{81B7A743-5320-980D-F2D9-23B00EA738E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820113" y="1981104"/>
                <a:ext cx="120477" cy="12047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cxnSp>
            <p:nvCxnSpPr>
              <p:cNvPr id="76" name="Straight Connector 30">
                <a:extLst>
                  <a:ext uri="{FF2B5EF4-FFF2-40B4-BE49-F238E27FC236}">
                    <a16:creationId xmlns:a16="http://schemas.microsoft.com/office/drawing/2014/main" id="{3EA2CEE5-3C37-AE13-4E2E-810D629A6247}"/>
                  </a:ext>
                </a:extLst>
              </p:cNvPr>
              <p:cNvCxnSpPr>
                <a:cxnSpLocks/>
                <a:endCxn id="75" idx="0"/>
              </p:cNvCxnSpPr>
              <p:nvPr/>
            </p:nvCxnSpPr>
            <p:spPr>
              <a:xfrm flipH="1">
                <a:off x="8880352" y="1762971"/>
                <a:ext cx="13562" cy="218133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3" name="TextBox 57">
              <a:hlinkClick r:id="" action="ppaction://noaction"/>
              <a:extLst>
                <a:ext uri="{FF2B5EF4-FFF2-40B4-BE49-F238E27FC236}">
                  <a16:creationId xmlns:a16="http://schemas.microsoft.com/office/drawing/2014/main" id="{C194D514-E8D6-C141-EC73-E36565842998}"/>
                </a:ext>
              </a:extLst>
            </p:cNvPr>
            <p:cNvSpPr txBox="1"/>
            <p:nvPr/>
          </p:nvSpPr>
          <p:spPr>
            <a:xfrm>
              <a:off x="6904266" y="1782652"/>
              <a:ext cx="1597539" cy="596777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noAutofit/>
            </a:bodyPr>
            <a:lstStyle/>
            <a:p>
              <a:pPr algn="r">
                <a:lnSpc>
                  <a:spcPct val="84000"/>
                </a:lnSpc>
              </a:pPr>
              <a:r>
                <a:rPr lang="aa-ET" sz="1400" dirty="0">
                  <a:solidFill>
                    <a:srgbClr val="1E377D"/>
                  </a:solidFill>
                  <a:latin typeface="Museo Sans 900" panose="02000000000000000000" pitchFamily="50" charset="0"/>
                </a:rPr>
                <a:t>Boxford (UK) K5</a:t>
              </a:r>
            </a:p>
            <a:p>
              <a:pPr algn="r">
                <a:lnSpc>
                  <a:spcPct val="84000"/>
                </a:lnSpc>
              </a:pPr>
              <a:r>
                <a:rPr lang="aa-ET" sz="1400" dirty="0">
                  <a:solidFill>
                    <a:srgbClr val="1E377D"/>
                  </a:solidFill>
                  <a:latin typeface="Museo Sans 100" panose="02000000000000000000" pitchFamily="50" charset="0"/>
                </a:rPr>
                <a:t>2 PET </a:t>
              </a:r>
              <a:r>
                <a:rPr lang="nl-BE" sz="1400" dirty="0">
                  <a:solidFill>
                    <a:srgbClr val="1E377D"/>
                  </a:solidFill>
                  <a:latin typeface="Museo Sans 100" panose="02000000000000000000" pitchFamily="50" charset="0"/>
                </a:rPr>
                <a:t>LIJNEN</a:t>
              </a:r>
              <a:r>
                <a:rPr lang="aa-ET" sz="1400" dirty="0">
                  <a:solidFill>
                    <a:srgbClr val="1E377D"/>
                  </a:solidFill>
                  <a:latin typeface="Museo Sans 100" panose="02000000000000000000" pitchFamily="50" charset="0"/>
                </a:rPr>
                <a:t> PRESSING</a:t>
              </a:r>
              <a:endParaRPr lang="en-GB" sz="1400" dirty="0">
                <a:solidFill>
                  <a:srgbClr val="1E377D"/>
                </a:solidFill>
                <a:latin typeface="Museo Sans 100" panose="02000000000000000000" pitchFamily="50" charset="0"/>
              </a:endParaRPr>
            </a:p>
          </p:txBody>
        </p:sp>
        <p:pic>
          <p:nvPicPr>
            <p:cNvPr id="74" name="Picture 9">
              <a:extLst>
                <a:ext uri="{FF2B5EF4-FFF2-40B4-BE49-F238E27FC236}">
                  <a16:creationId xmlns:a16="http://schemas.microsoft.com/office/drawing/2014/main" id="{0A2E4E66-0EE4-2184-A9F2-9F454BCC328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38530" y="1785415"/>
              <a:ext cx="361950" cy="240204"/>
            </a:xfrm>
            <a:prstGeom prst="rect">
              <a:avLst/>
            </a:prstGeom>
          </p:spPr>
        </p:pic>
      </p:grpSp>
      <p:grpSp>
        <p:nvGrpSpPr>
          <p:cNvPr id="77" name="Groep 76">
            <a:extLst>
              <a:ext uri="{FF2B5EF4-FFF2-40B4-BE49-F238E27FC236}">
                <a16:creationId xmlns:a16="http://schemas.microsoft.com/office/drawing/2014/main" id="{0CDFE5BD-3C8D-BF4E-E92A-DD172C3D7953}"/>
              </a:ext>
            </a:extLst>
          </p:cNvPr>
          <p:cNvGrpSpPr/>
          <p:nvPr/>
        </p:nvGrpSpPr>
        <p:grpSpPr>
          <a:xfrm>
            <a:off x="7247285" y="3056146"/>
            <a:ext cx="2221938" cy="421125"/>
            <a:chOff x="7247285" y="3056146"/>
            <a:chExt cx="2221938" cy="421125"/>
          </a:xfrm>
        </p:grpSpPr>
        <p:grpSp>
          <p:nvGrpSpPr>
            <p:cNvPr id="78" name="Groep 77">
              <a:extLst>
                <a:ext uri="{FF2B5EF4-FFF2-40B4-BE49-F238E27FC236}">
                  <a16:creationId xmlns:a16="http://schemas.microsoft.com/office/drawing/2014/main" id="{CFCB074A-E297-650E-65A1-D006340F3F71}"/>
                </a:ext>
              </a:extLst>
            </p:cNvPr>
            <p:cNvGrpSpPr/>
            <p:nvPr/>
          </p:nvGrpSpPr>
          <p:grpSpPr>
            <a:xfrm>
              <a:off x="8910200" y="3267063"/>
              <a:ext cx="559023" cy="195298"/>
              <a:chOff x="8910200" y="3267063"/>
              <a:chExt cx="559023" cy="195298"/>
            </a:xfrm>
          </p:grpSpPr>
          <p:sp>
            <p:nvSpPr>
              <p:cNvPr id="81" name="Oval 41">
                <a:extLst>
                  <a:ext uri="{FF2B5EF4-FFF2-40B4-BE49-F238E27FC236}">
                    <a16:creationId xmlns:a16="http://schemas.microsoft.com/office/drawing/2014/main" id="{5437757D-5303-F96D-A95F-86BD003C936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361223" y="3354361"/>
                <a:ext cx="108000" cy="108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82" name="Freeform: Shape 45">
                <a:extLst>
                  <a:ext uri="{FF2B5EF4-FFF2-40B4-BE49-F238E27FC236}">
                    <a16:creationId xmlns:a16="http://schemas.microsoft.com/office/drawing/2014/main" id="{3E7F3C1B-5E71-E960-A120-B5EA513CF81B}"/>
                  </a:ext>
                </a:extLst>
              </p:cNvPr>
              <p:cNvSpPr/>
              <p:nvPr/>
            </p:nvSpPr>
            <p:spPr>
              <a:xfrm>
                <a:off x="8910200" y="3267063"/>
                <a:ext cx="484558" cy="115384"/>
              </a:xfrm>
              <a:custGeom>
                <a:avLst/>
                <a:gdLst>
                  <a:gd name="connsiteX0" fmla="*/ 0 w 540544"/>
                  <a:gd name="connsiteY0" fmla="*/ 9653 h 128715"/>
                  <a:gd name="connsiteX1" fmla="*/ 297656 w 540544"/>
                  <a:gd name="connsiteY1" fmla="*/ 12034 h 128715"/>
                  <a:gd name="connsiteX2" fmla="*/ 540544 w 540544"/>
                  <a:gd name="connsiteY2" fmla="*/ 128715 h 128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0544" h="128715">
                    <a:moveTo>
                      <a:pt x="0" y="9653"/>
                    </a:moveTo>
                    <a:cubicBezTo>
                      <a:pt x="103782" y="921"/>
                      <a:pt x="207565" y="-7810"/>
                      <a:pt x="297656" y="12034"/>
                    </a:cubicBezTo>
                    <a:cubicBezTo>
                      <a:pt x="387747" y="31878"/>
                      <a:pt x="483791" y="104902"/>
                      <a:pt x="540544" y="128715"/>
                    </a:cubicBezTo>
                  </a:path>
                </a:pathLst>
              </a:custGeom>
              <a:noFill/>
              <a:ln w="285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79" name="TextBox 59">
              <a:hlinkClick r:id="rId7" action="ppaction://hlinksldjump"/>
              <a:extLst>
                <a:ext uri="{FF2B5EF4-FFF2-40B4-BE49-F238E27FC236}">
                  <a16:creationId xmlns:a16="http://schemas.microsoft.com/office/drawing/2014/main" id="{0A04157D-9AD9-13AD-FE70-D8CF0B82C766}"/>
                </a:ext>
              </a:extLst>
            </p:cNvPr>
            <p:cNvSpPr txBox="1"/>
            <p:nvPr/>
          </p:nvSpPr>
          <p:spPr>
            <a:xfrm>
              <a:off x="7247285" y="3107104"/>
              <a:ext cx="1597539" cy="37016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>
                <a:lnSpc>
                  <a:spcPct val="84000"/>
                </a:lnSpc>
              </a:pPr>
              <a:r>
                <a:rPr lang="nl-BE" sz="1400" dirty="0">
                  <a:solidFill>
                    <a:srgbClr val="1E377D"/>
                  </a:solidFill>
                  <a:latin typeface="Museo Sans 900" panose="02000000000000000000" pitchFamily="50" charset="0"/>
                </a:rPr>
                <a:t>Genk</a:t>
              </a:r>
              <a:r>
                <a:rPr lang="aa-ET" sz="1400" dirty="0">
                  <a:solidFill>
                    <a:srgbClr val="1E377D"/>
                  </a:solidFill>
                  <a:latin typeface="Museo Sans 900" panose="02000000000000000000" pitchFamily="50" charset="0"/>
                </a:rPr>
                <a:t> (BE) </a:t>
              </a:r>
              <a:r>
                <a:rPr lang="nl-BE" sz="1400" dirty="0">
                  <a:solidFill>
                    <a:srgbClr val="1E377D"/>
                  </a:solidFill>
                  <a:latin typeface="Museo Sans 900" panose="02000000000000000000" pitchFamily="50" charset="0"/>
                </a:rPr>
                <a:t>K7</a:t>
              </a:r>
              <a:endParaRPr lang="aa-ET" sz="1400" dirty="0">
                <a:solidFill>
                  <a:srgbClr val="1E377D"/>
                </a:solidFill>
                <a:latin typeface="Museo Sans 900" panose="02000000000000000000" pitchFamily="50" charset="0"/>
              </a:endParaRPr>
            </a:p>
            <a:p>
              <a:pPr algn="r">
                <a:lnSpc>
                  <a:spcPct val="84000"/>
                </a:lnSpc>
              </a:pPr>
              <a:r>
                <a:rPr lang="nl-BE" sz="1400" dirty="0">
                  <a:solidFill>
                    <a:srgbClr val="1E377D"/>
                  </a:solidFill>
                  <a:latin typeface="Museo Sans 100" panose="02000000000000000000" pitchFamily="50" charset="0"/>
                </a:rPr>
                <a:t>1 BLIKJES LIJN</a:t>
              </a:r>
              <a:endParaRPr lang="en-GB" sz="1400" dirty="0">
                <a:solidFill>
                  <a:srgbClr val="1E377D"/>
                </a:solidFill>
                <a:latin typeface="Museo Sans 100" panose="02000000000000000000" pitchFamily="50" charset="0"/>
              </a:endParaRPr>
            </a:p>
          </p:txBody>
        </p:sp>
        <p:pic>
          <p:nvPicPr>
            <p:cNvPr id="80" name="Picture 11">
              <a:extLst>
                <a:ext uri="{FF2B5EF4-FFF2-40B4-BE49-F238E27FC236}">
                  <a16:creationId xmlns:a16="http://schemas.microsoft.com/office/drawing/2014/main" id="{0A6DCAA9-FA24-0D5B-6D61-FA91529810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75924" y="3056146"/>
              <a:ext cx="361950" cy="240204"/>
            </a:xfrm>
            <a:prstGeom prst="rect">
              <a:avLst/>
            </a:prstGeom>
          </p:spPr>
        </p:pic>
      </p:grpSp>
      <p:grpSp>
        <p:nvGrpSpPr>
          <p:cNvPr id="83" name="Groep 82">
            <a:extLst>
              <a:ext uri="{FF2B5EF4-FFF2-40B4-BE49-F238E27FC236}">
                <a16:creationId xmlns:a16="http://schemas.microsoft.com/office/drawing/2014/main" id="{0B603C2C-321F-B1D0-34A5-69B3639E1143}"/>
              </a:ext>
            </a:extLst>
          </p:cNvPr>
          <p:cNvGrpSpPr/>
          <p:nvPr/>
        </p:nvGrpSpPr>
        <p:grpSpPr>
          <a:xfrm>
            <a:off x="6371190" y="3469684"/>
            <a:ext cx="3157634" cy="1574942"/>
            <a:chOff x="6704743" y="3469946"/>
            <a:chExt cx="2656480" cy="1574942"/>
          </a:xfrm>
        </p:grpSpPr>
        <p:grpSp>
          <p:nvGrpSpPr>
            <p:cNvPr id="84" name="Groep 83">
              <a:extLst>
                <a:ext uri="{FF2B5EF4-FFF2-40B4-BE49-F238E27FC236}">
                  <a16:creationId xmlns:a16="http://schemas.microsoft.com/office/drawing/2014/main" id="{66AB4E2C-0641-C32A-96CD-4C9B80E7E9EE}"/>
                </a:ext>
              </a:extLst>
            </p:cNvPr>
            <p:cNvGrpSpPr/>
            <p:nvPr/>
          </p:nvGrpSpPr>
          <p:grpSpPr>
            <a:xfrm>
              <a:off x="8978508" y="3469946"/>
              <a:ext cx="267144" cy="320212"/>
              <a:chOff x="8978508" y="3469946"/>
              <a:chExt cx="267144" cy="320212"/>
            </a:xfrm>
          </p:grpSpPr>
          <p:sp>
            <p:nvSpPr>
              <p:cNvPr id="87" name="Oval 43">
                <a:extLst>
                  <a:ext uri="{FF2B5EF4-FFF2-40B4-BE49-F238E27FC236}">
                    <a16:creationId xmlns:a16="http://schemas.microsoft.com/office/drawing/2014/main" id="{0031D211-351A-FD35-166D-42A6603AF15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137652" y="3469946"/>
                <a:ext cx="108000" cy="108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88" name="Freeform: Shape 48">
                <a:extLst>
                  <a:ext uri="{FF2B5EF4-FFF2-40B4-BE49-F238E27FC236}">
                    <a16:creationId xmlns:a16="http://schemas.microsoft.com/office/drawing/2014/main" id="{1E27073B-0F8B-F695-6C2A-612D33595FB4}"/>
                  </a:ext>
                </a:extLst>
              </p:cNvPr>
              <p:cNvSpPr/>
              <p:nvPr/>
            </p:nvSpPr>
            <p:spPr>
              <a:xfrm>
                <a:off x="8978508" y="3548947"/>
                <a:ext cx="215596" cy="241211"/>
              </a:xfrm>
              <a:custGeom>
                <a:avLst/>
                <a:gdLst>
                  <a:gd name="connsiteX0" fmla="*/ 240506 w 240506"/>
                  <a:gd name="connsiteY0" fmla="*/ 0 h 269081"/>
                  <a:gd name="connsiteX1" fmla="*/ 209550 w 240506"/>
                  <a:gd name="connsiteY1" fmla="*/ 107156 h 269081"/>
                  <a:gd name="connsiteX2" fmla="*/ 119062 w 240506"/>
                  <a:gd name="connsiteY2" fmla="*/ 190500 h 269081"/>
                  <a:gd name="connsiteX3" fmla="*/ 0 w 240506"/>
                  <a:gd name="connsiteY3" fmla="*/ 269081 h 269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0506" h="269081">
                    <a:moveTo>
                      <a:pt x="240506" y="0"/>
                    </a:moveTo>
                    <a:cubicBezTo>
                      <a:pt x="235148" y="37703"/>
                      <a:pt x="229791" y="75406"/>
                      <a:pt x="209550" y="107156"/>
                    </a:cubicBezTo>
                    <a:cubicBezTo>
                      <a:pt x="189309" y="138906"/>
                      <a:pt x="153987" y="163513"/>
                      <a:pt x="119062" y="190500"/>
                    </a:cubicBezTo>
                    <a:cubicBezTo>
                      <a:pt x="84137" y="217488"/>
                      <a:pt x="42068" y="243284"/>
                      <a:pt x="0" y="269081"/>
                    </a:cubicBezTo>
                  </a:path>
                </a:pathLst>
              </a:custGeom>
              <a:noFill/>
              <a:ln w="285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85" name="TextBox 60">
              <a:hlinkClick r:id="rId7" action="ppaction://hlinksldjump"/>
              <a:extLst>
                <a:ext uri="{FF2B5EF4-FFF2-40B4-BE49-F238E27FC236}">
                  <a16:creationId xmlns:a16="http://schemas.microsoft.com/office/drawing/2014/main" id="{9B33327D-F959-7EB9-439B-7C0ED9027193}"/>
                </a:ext>
              </a:extLst>
            </p:cNvPr>
            <p:cNvSpPr txBox="1"/>
            <p:nvPr/>
          </p:nvSpPr>
          <p:spPr>
            <a:xfrm>
              <a:off x="6843268" y="3819566"/>
              <a:ext cx="2517955" cy="12253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>
                <a:lnSpc>
                  <a:spcPct val="84000"/>
                </a:lnSpc>
              </a:pPr>
              <a:r>
                <a:rPr lang="aa-ET" sz="1400" dirty="0">
                  <a:solidFill>
                    <a:srgbClr val="1E377D"/>
                  </a:solidFill>
                  <a:latin typeface="Museo Sans 900" panose="02000000000000000000" pitchFamily="50" charset="0"/>
                </a:rPr>
                <a:t>Zonhoven (BE) K0, K1</a:t>
              </a:r>
              <a:r>
                <a:rPr lang="nl-NL" sz="1400" dirty="0">
                  <a:solidFill>
                    <a:srgbClr val="1E377D"/>
                  </a:solidFill>
                  <a:latin typeface="Museo Sans 900" panose="02000000000000000000" pitchFamily="50" charset="0"/>
                </a:rPr>
                <a:t>, K2</a:t>
              </a:r>
              <a:endParaRPr lang="aa-ET" sz="1400" dirty="0">
                <a:solidFill>
                  <a:srgbClr val="1E377D"/>
                </a:solidFill>
                <a:latin typeface="Museo Sans 900" panose="02000000000000000000" pitchFamily="50" charset="0"/>
              </a:endParaRPr>
            </a:p>
            <a:p>
              <a:pPr algn="r">
                <a:lnSpc>
                  <a:spcPct val="84000"/>
                </a:lnSpc>
              </a:pPr>
              <a:r>
                <a:rPr lang="nl-BE" sz="1400" dirty="0">
                  <a:solidFill>
                    <a:srgbClr val="1E377D"/>
                  </a:solidFill>
                  <a:latin typeface="Museo Sans 100" panose="02000000000000000000" pitchFamily="50" charset="0"/>
                </a:rPr>
                <a:t>HOOFDKANTOOR</a:t>
              </a:r>
              <a:endParaRPr lang="aa-ET" sz="1400" dirty="0">
                <a:solidFill>
                  <a:srgbClr val="1E377D"/>
                </a:solidFill>
                <a:latin typeface="Museo Sans 100" panose="02000000000000000000" pitchFamily="50" charset="0"/>
              </a:endParaRPr>
            </a:p>
            <a:p>
              <a:pPr algn="r">
                <a:lnSpc>
                  <a:spcPct val="84000"/>
                </a:lnSpc>
              </a:pPr>
              <a:r>
                <a:rPr lang="aa-ET" sz="1400" dirty="0">
                  <a:solidFill>
                    <a:srgbClr val="1E377D"/>
                  </a:solidFill>
                  <a:latin typeface="Museo Sans 100" panose="02000000000000000000" pitchFamily="50" charset="0"/>
                </a:rPr>
                <a:t>PRESSING</a:t>
              </a:r>
            </a:p>
            <a:p>
              <a:pPr algn="r">
                <a:lnSpc>
                  <a:spcPct val="84000"/>
                </a:lnSpc>
              </a:pPr>
              <a:r>
                <a:rPr lang="nl-BE" sz="1400" dirty="0">
                  <a:solidFill>
                    <a:srgbClr val="1E377D"/>
                  </a:solidFill>
                  <a:latin typeface="Museo Sans 100" panose="02000000000000000000" pitchFamily="50" charset="0"/>
                </a:rPr>
                <a:t>LIJN VOOR VERPAKKEN VERSCHILLENDE SOORTEN BLIKJES</a:t>
              </a:r>
              <a:endParaRPr lang="aa-ET" sz="1400" dirty="0">
                <a:solidFill>
                  <a:srgbClr val="1E377D"/>
                </a:solidFill>
                <a:latin typeface="Museo Sans 100" panose="02000000000000000000" pitchFamily="50" charset="0"/>
              </a:endParaRPr>
            </a:p>
            <a:p>
              <a:pPr algn="r">
                <a:lnSpc>
                  <a:spcPct val="84000"/>
                </a:lnSpc>
              </a:pPr>
              <a:r>
                <a:rPr lang="aa-ET" sz="1400" dirty="0">
                  <a:solidFill>
                    <a:srgbClr val="1E377D"/>
                  </a:solidFill>
                  <a:latin typeface="Museo Sans 100" panose="02000000000000000000" pitchFamily="50" charset="0"/>
                </a:rPr>
                <a:t>4 GLAS LI</a:t>
              </a:r>
              <a:r>
                <a:rPr lang="nl-BE" sz="1400" dirty="0">
                  <a:solidFill>
                    <a:srgbClr val="1E377D"/>
                  </a:solidFill>
                  <a:latin typeface="Museo Sans 100" panose="02000000000000000000" pitchFamily="50" charset="0"/>
                </a:rPr>
                <a:t>J</a:t>
              </a:r>
              <a:r>
                <a:rPr lang="aa-ET" sz="1400" dirty="0">
                  <a:solidFill>
                    <a:srgbClr val="1E377D"/>
                  </a:solidFill>
                  <a:latin typeface="Museo Sans 100" panose="02000000000000000000" pitchFamily="50" charset="0"/>
                </a:rPr>
                <a:t>NE</a:t>
              </a:r>
              <a:r>
                <a:rPr lang="nl-BE" sz="1400" dirty="0">
                  <a:solidFill>
                    <a:srgbClr val="1E377D"/>
                  </a:solidFill>
                  <a:latin typeface="Museo Sans 100" panose="02000000000000000000" pitchFamily="50" charset="0"/>
                </a:rPr>
                <a:t>N</a:t>
              </a:r>
              <a:endParaRPr lang="aa-ET" sz="1400" dirty="0">
                <a:solidFill>
                  <a:srgbClr val="1E377D"/>
                </a:solidFill>
                <a:latin typeface="Museo Sans 100" panose="02000000000000000000" pitchFamily="50" charset="0"/>
              </a:endParaRPr>
            </a:p>
            <a:p>
              <a:pPr algn="r">
                <a:lnSpc>
                  <a:spcPct val="84000"/>
                </a:lnSpc>
              </a:pPr>
              <a:r>
                <a:rPr lang="aa-ET" sz="1400" dirty="0">
                  <a:solidFill>
                    <a:srgbClr val="1E377D"/>
                  </a:solidFill>
                  <a:latin typeface="Museo Sans 100" panose="02000000000000000000" pitchFamily="50" charset="0"/>
                </a:rPr>
                <a:t>3 </a:t>
              </a:r>
              <a:r>
                <a:rPr lang="nl-BE" sz="1400" dirty="0">
                  <a:solidFill>
                    <a:srgbClr val="1E377D"/>
                  </a:solidFill>
                  <a:latin typeface="Museo Sans 100" panose="02000000000000000000" pitchFamily="50" charset="0"/>
                </a:rPr>
                <a:t>BLIKJES</a:t>
              </a:r>
              <a:r>
                <a:rPr lang="aa-ET" sz="1400" dirty="0">
                  <a:solidFill>
                    <a:srgbClr val="1E377D"/>
                  </a:solidFill>
                  <a:latin typeface="Museo Sans 100" panose="02000000000000000000" pitchFamily="50" charset="0"/>
                </a:rPr>
                <a:t> LI</a:t>
              </a:r>
              <a:r>
                <a:rPr lang="nl-BE" sz="1400" dirty="0">
                  <a:solidFill>
                    <a:srgbClr val="1E377D"/>
                  </a:solidFill>
                  <a:latin typeface="Museo Sans 100" panose="02000000000000000000" pitchFamily="50" charset="0"/>
                </a:rPr>
                <a:t>J</a:t>
              </a:r>
              <a:r>
                <a:rPr lang="aa-ET" sz="1400" dirty="0">
                  <a:solidFill>
                    <a:srgbClr val="1E377D"/>
                  </a:solidFill>
                  <a:latin typeface="Museo Sans 100" panose="02000000000000000000" pitchFamily="50" charset="0"/>
                </a:rPr>
                <a:t>NE</a:t>
              </a:r>
              <a:r>
                <a:rPr lang="nl-BE" sz="1400" dirty="0">
                  <a:solidFill>
                    <a:srgbClr val="1E377D"/>
                  </a:solidFill>
                  <a:latin typeface="Museo Sans 100" panose="02000000000000000000" pitchFamily="50" charset="0"/>
                </a:rPr>
                <a:t>N</a:t>
              </a:r>
              <a:endParaRPr lang="en-GB" sz="1400" dirty="0">
                <a:solidFill>
                  <a:srgbClr val="1E377D"/>
                </a:solidFill>
                <a:latin typeface="Museo Sans 100" panose="02000000000000000000" pitchFamily="50" charset="0"/>
              </a:endParaRPr>
            </a:p>
          </p:txBody>
        </p:sp>
        <p:pic>
          <p:nvPicPr>
            <p:cNvPr id="86" name="Picture 49">
              <a:extLst>
                <a:ext uri="{FF2B5EF4-FFF2-40B4-BE49-F238E27FC236}">
                  <a16:creationId xmlns:a16="http://schemas.microsoft.com/office/drawing/2014/main" id="{A8C53879-B56A-31CD-2A35-4B318E56884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04743" y="3759253"/>
              <a:ext cx="361950" cy="240204"/>
            </a:xfrm>
            <a:prstGeom prst="rect">
              <a:avLst/>
            </a:prstGeom>
          </p:spPr>
        </p:pic>
      </p:grpSp>
      <p:grpSp>
        <p:nvGrpSpPr>
          <p:cNvPr id="89" name="Groep 88">
            <a:extLst>
              <a:ext uri="{FF2B5EF4-FFF2-40B4-BE49-F238E27FC236}">
                <a16:creationId xmlns:a16="http://schemas.microsoft.com/office/drawing/2014/main" id="{48594B77-3F86-3AD5-4E2B-4C145CFFCF98}"/>
              </a:ext>
            </a:extLst>
          </p:cNvPr>
          <p:cNvGrpSpPr/>
          <p:nvPr/>
        </p:nvGrpSpPr>
        <p:grpSpPr>
          <a:xfrm>
            <a:off x="8828463" y="1981786"/>
            <a:ext cx="2654134" cy="1147114"/>
            <a:chOff x="8828463" y="1981786"/>
            <a:chExt cx="2331506" cy="1147114"/>
          </a:xfrm>
        </p:grpSpPr>
        <p:grpSp>
          <p:nvGrpSpPr>
            <p:cNvPr id="90" name="Group 34">
              <a:extLst>
                <a:ext uri="{FF2B5EF4-FFF2-40B4-BE49-F238E27FC236}">
                  <a16:creationId xmlns:a16="http://schemas.microsoft.com/office/drawing/2014/main" id="{A2F35A02-3A5A-3BF6-1148-D0F320BEA7F9}"/>
                </a:ext>
              </a:extLst>
            </p:cNvPr>
            <p:cNvGrpSpPr/>
            <p:nvPr/>
          </p:nvGrpSpPr>
          <p:grpSpPr>
            <a:xfrm>
              <a:off x="9383493" y="2825359"/>
              <a:ext cx="108000" cy="303541"/>
              <a:chOff x="8820114" y="1762971"/>
              <a:chExt cx="120478" cy="338612"/>
            </a:xfrm>
          </p:grpSpPr>
          <p:sp>
            <p:nvSpPr>
              <p:cNvPr id="93" name="Oval 35">
                <a:extLst>
                  <a:ext uri="{FF2B5EF4-FFF2-40B4-BE49-F238E27FC236}">
                    <a16:creationId xmlns:a16="http://schemas.microsoft.com/office/drawing/2014/main" id="{82AC8474-6AF7-C70A-C338-9B5F4F051C7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820114" y="1981105"/>
                <a:ext cx="120478" cy="12047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94" name="Straight Connector 36">
                <a:extLst>
                  <a:ext uri="{FF2B5EF4-FFF2-40B4-BE49-F238E27FC236}">
                    <a16:creationId xmlns:a16="http://schemas.microsoft.com/office/drawing/2014/main" id="{B8971C4C-E46F-9731-101D-F358AEA5B009}"/>
                  </a:ext>
                </a:extLst>
              </p:cNvPr>
              <p:cNvCxnSpPr>
                <a:cxnSpLocks/>
                <a:endCxn id="93" idx="0"/>
              </p:cNvCxnSpPr>
              <p:nvPr/>
            </p:nvCxnSpPr>
            <p:spPr>
              <a:xfrm flipH="1">
                <a:off x="8880353" y="1762971"/>
                <a:ext cx="13560" cy="218134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1" name="TextBox 58">
              <a:hlinkClick r:id="" action="ppaction://noaction"/>
              <a:extLst>
                <a:ext uri="{FF2B5EF4-FFF2-40B4-BE49-F238E27FC236}">
                  <a16:creationId xmlns:a16="http://schemas.microsoft.com/office/drawing/2014/main" id="{93CC3BB5-0052-FFD4-B568-1C168845CC3C}"/>
                </a:ext>
              </a:extLst>
            </p:cNvPr>
            <p:cNvSpPr txBox="1"/>
            <p:nvPr/>
          </p:nvSpPr>
          <p:spPr>
            <a:xfrm>
              <a:off x="9280082" y="1981786"/>
              <a:ext cx="1879887" cy="784458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noAutofit/>
            </a:bodyPr>
            <a:lstStyle/>
            <a:p>
              <a:pPr>
                <a:lnSpc>
                  <a:spcPct val="84000"/>
                </a:lnSpc>
              </a:pPr>
              <a:r>
                <a:rPr lang="aa-ET" sz="1400" dirty="0">
                  <a:solidFill>
                    <a:srgbClr val="1E377D"/>
                  </a:solidFill>
                  <a:latin typeface="Museo Sans 900" panose="02000000000000000000" pitchFamily="50" charset="0"/>
                </a:rPr>
                <a:t>N</a:t>
              </a:r>
              <a:r>
                <a:rPr lang="nl-BE" sz="1400" dirty="0">
                  <a:solidFill>
                    <a:srgbClr val="1E377D"/>
                  </a:solidFill>
                  <a:latin typeface="Museo Sans 900" panose="02000000000000000000" pitchFamily="50" charset="0"/>
                </a:rPr>
                <a:t>IEU</a:t>
              </a:r>
              <a:r>
                <a:rPr lang="aa-ET" sz="1400" dirty="0">
                  <a:solidFill>
                    <a:srgbClr val="1E377D"/>
                  </a:solidFill>
                  <a:latin typeface="Museo Sans 900" panose="02000000000000000000" pitchFamily="50" charset="0"/>
                </a:rPr>
                <a:t>W: Breda (NL) K4</a:t>
              </a:r>
            </a:p>
            <a:p>
              <a:pPr>
                <a:lnSpc>
                  <a:spcPct val="84000"/>
                </a:lnSpc>
              </a:pPr>
              <a:r>
                <a:rPr lang="aa-ET" sz="1400" dirty="0">
                  <a:solidFill>
                    <a:srgbClr val="1E377D"/>
                  </a:solidFill>
                  <a:latin typeface="Museo Sans 100" panose="02000000000000000000" pitchFamily="50" charset="0"/>
                </a:rPr>
                <a:t>1 PET LI</a:t>
              </a:r>
              <a:r>
                <a:rPr lang="nl-BE" sz="1400" dirty="0">
                  <a:solidFill>
                    <a:srgbClr val="1E377D"/>
                  </a:solidFill>
                  <a:latin typeface="Museo Sans 100" panose="02000000000000000000" pitchFamily="50" charset="0"/>
                </a:rPr>
                <a:t>JN</a:t>
              </a:r>
              <a:endParaRPr lang="aa-ET" sz="1400" dirty="0">
                <a:solidFill>
                  <a:srgbClr val="1E377D"/>
                </a:solidFill>
                <a:latin typeface="Museo Sans 100" panose="02000000000000000000" pitchFamily="50" charset="0"/>
              </a:endParaRPr>
            </a:p>
            <a:p>
              <a:pPr>
                <a:lnSpc>
                  <a:spcPct val="84000"/>
                </a:lnSpc>
              </a:pPr>
              <a:r>
                <a:rPr lang="aa-ET" sz="1400" dirty="0">
                  <a:solidFill>
                    <a:srgbClr val="1E377D"/>
                  </a:solidFill>
                  <a:latin typeface="Museo Sans 100" panose="02000000000000000000" pitchFamily="50" charset="0"/>
                </a:rPr>
                <a:t>1 TETRA LI</a:t>
              </a:r>
              <a:r>
                <a:rPr lang="nl-BE" sz="1400" dirty="0">
                  <a:solidFill>
                    <a:srgbClr val="1E377D"/>
                  </a:solidFill>
                  <a:latin typeface="Museo Sans 100" panose="02000000000000000000" pitchFamily="50" charset="0"/>
                </a:rPr>
                <a:t>JN</a:t>
              </a:r>
              <a:endParaRPr lang="aa-ET" sz="1400" dirty="0">
                <a:solidFill>
                  <a:srgbClr val="1E377D"/>
                </a:solidFill>
                <a:latin typeface="Museo Sans 100" panose="02000000000000000000" pitchFamily="50" charset="0"/>
              </a:endParaRPr>
            </a:p>
            <a:p>
              <a:pPr>
                <a:lnSpc>
                  <a:spcPct val="84000"/>
                </a:lnSpc>
              </a:pPr>
              <a:r>
                <a:rPr lang="aa-ET" sz="1400" dirty="0">
                  <a:solidFill>
                    <a:srgbClr val="1E377D"/>
                  </a:solidFill>
                  <a:latin typeface="Museo Sans 100" panose="02000000000000000000" pitchFamily="50" charset="0"/>
                </a:rPr>
                <a:t>1 </a:t>
              </a:r>
              <a:r>
                <a:rPr lang="nl-BE" sz="1400" dirty="0">
                  <a:solidFill>
                    <a:srgbClr val="1E377D"/>
                  </a:solidFill>
                  <a:latin typeface="Museo Sans 100" panose="02000000000000000000" pitchFamily="50" charset="0"/>
                </a:rPr>
                <a:t>BLIKJES</a:t>
              </a:r>
              <a:r>
                <a:rPr lang="aa-ET" sz="1400" dirty="0">
                  <a:solidFill>
                    <a:srgbClr val="1E377D"/>
                  </a:solidFill>
                  <a:latin typeface="Museo Sans 100" panose="02000000000000000000" pitchFamily="50" charset="0"/>
                </a:rPr>
                <a:t> LI</a:t>
              </a:r>
              <a:r>
                <a:rPr lang="nl-BE" sz="1400" dirty="0">
                  <a:solidFill>
                    <a:srgbClr val="1E377D"/>
                  </a:solidFill>
                  <a:latin typeface="Museo Sans 100" panose="02000000000000000000" pitchFamily="50" charset="0"/>
                </a:rPr>
                <a:t>JN</a:t>
              </a:r>
              <a:endParaRPr lang="en-GB" sz="1400" dirty="0">
                <a:solidFill>
                  <a:srgbClr val="1E377D"/>
                </a:solidFill>
                <a:latin typeface="Museo Sans 100" panose="02000000000000000000" pitchFamily="50" charset="0"/>
              </a:endParaRPr>
            </a:p>
          </p:txBody>
        </p:sp>
        <p:pic>
          <p:nvPicPr>
            <p:cNvPr id="92" name="Picture 13">
              <a:extLst>
                <a:ext uri="{FF2B5EF4-FFF2-40B4-BE49-F238E27FC236}">
                  <a16:creationId xmlns:a16="http://schemas.microsoft.com/office/drawing/2014/main" id="{CC564CEB-F0ED-1DED-5D42-7F0421B5847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28463" y="2066133"/>
              <a:ext cx="361950" cy="240204"/>
            </a:xfrm>
            <a:prstGeom prst="rect">
              <a:avLst/>
            </a:prstGeom>
          </p:spPr>
        </p:pic>
      </p:grpSp>
      <p:grpSp>
        <p:nvGrpSpPr>
          <p:cNvPr id="95" name="Groep 94">
            <a:extLst>
              <a:ext uri="{FF2B5EF4-FFF2-40B4-BE49-F238E27FC236}">
                <a16:creationId xmlns:a16="http://schemas.microsoft.com/office/drawing/2014/main" id="{BC332EC0-D308-176B-B554-B9D88F93A8BD}"/>
              </a:ext>
            </a:extLst>
          </p:cNvPr>
          <p:cNvGrpSpPr/>
          <p:nvPr/>
        </p:nvGrpSpPr>
        <p:grpSpPr>
          <a:xfrm>
            <a:off x="9403258" y="3497157"/>
            <a:ext cx="2611761" cy="461220"/>
            <a:chOff x="9403258" y="3497157"/>
            <a:chExt cx="2611761" cy="461220"/>
          </a:xfrm>
        </p:grpSpPr>
        <p:grpSp>
          <p:nvGrpSpPr>
            <p:cNvPr id="96" name="Groep 95">
              <a:extLst>
                <a:ext uri="{FF2B5EF4-FFF2-40B4-BE49-F238E27FC236}">
                  <a16:creationId xmlns:a16="http://schemas.microsoft.com/office/drawing/2014/main" id="{8AE86F3E-AB3B-36B7-03DD-E58894CAC7D2}"/>
                </a:ext>
              </a:extLst>
            </p:cNvPr>
            <p:cNvGrpSpPr/>
            <p:nvPr/>
          </p:nvGrpSpPr>
          <p:grpSpPr>
            <a:xfrm rot="10800000">
              <a:off x="9403258" y="3497157"/>
              <a:ext cx="559023" cy="195298"/>
              <a:chOff x="10309369" y="3228216"/>
              <a:chExt cx="559023" cy="195298"/>
            </a:xfrm>
          </p:grpSpPr>
          <p:sp>
            <p:nvSpPr>
              <p:cNvPr id="99" name="Oval 41">
                <a:extLst>
                  <a:ext uri="{FF2B5EF4-FFF2-40B4-BE49-F238E27FC236}">
                    <a16:creationId xmlns:a16="http://schemas.microsoft.com/office/drawing/2014/main" id="{A2A2C013-FCE9-1A7E-8666-B48D912543B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760392" y="3315514"/>
                <a:ext cx="108000" cy="108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0" name="Freeform: Shape 45">
                <a:extLst>
                  <a:ext uri="{FF2B5EF4-FFF2-40B4-BE49-F238E27FC236}">
                    <a16:creationId xmlns:a16="http://schemas.microsoft.com/office/drawing/2014/main" id="{06CBCF0A-D931-DEDB-B0EA-E915A04F3540}"/>
                  </a:ext>
                </a:extLst>
              </p:cNvPr>
              <p:cNvSpPr/>
              <p:nvPr/>
            </p:nvSpPr>
            <p:spPr>
              <a:xfrm>
                <a:off x="10309369" y="3228216"/>
                <a:ext cx="484558" cy="115384"/>
              </a:xfrm>
              <a:custGeom>
                <a:avLst/>
                <a:gdLst>
                  <a:gd name="connsiteX0" fmla="*/ 0 w 540544"/>
                  <a:gd name="connsiteY0" fmla="*/ 9653 h 128715"/>
                  <a:gd name="connsiteX1" fmla="*/ 297656 w 540544"/>
                  <a:gd name="connsiteY1" fmla="*/ 12034 h 128715"/>
                  <a:gd name="connsiteX2" fmla="*/ 540544 w 540544"/>
                  <a:gd name="connsiteY2" fmla="*/ 128715 h 128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0544" h="128715">
                    <a:moveTo>
                      <a:pt x="0" y="9653"/>
                    </a:moveTo>
                    <a:cubicBezTo>
                      <a:pt x="103782" y="921"/>
                      <a:pt x="207565" y="-7810"/>
                      <a:pt x="297656" y="12034"/>
                    </a:cubicBezTo>
                    <a:cubicBezTo>
                      <a:pt x="387747" y="31878"/>
                      <a:pt x="483791" y="104902"/>
                      <a:pt x="540544" y="128715"/>
                    </a:cubicBezTo>
                  </a:path>
                </a:pathLst>
              </a:custGeom>
              <a:noFill/>
              <a:ln w="285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97" name="TextBox 59">
              <a:hlinkClick r:id="rId7" action="ppaction://hlinksldjump"/>
              <a:extLst>
                <a:ext uri="{FF2B5EF4-FFF2-40B4-BE49-F238E27FC236}">
                  <a16:creationId xmlns:a16="http://schemas.microsoft.com/office/drawing/2014/main" id="{4760C507-23D6-FF46-81A6-F28D9591EAAD}"/>
                </a:ext>
              </a:extLst>
            </p:cNvPr>
            <p:cNvSpPr txBox="1"/>
            <p:nvPr/>
          </p:nvSpPr>
          <p:spPr>
            <a:xfrm>
              <a:off x="10417480" y="3588210"/>
              <a:ext cx="1597539" cy="37016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84000"/>
                </a:lnSpc>
              </a:pPr>
              <a:r>
                <a:rPr lang="aa-ET" sz="1400" dirty="0">
                  <a:solidFill>
                    <a:srgbClr val="1E377D"/>
                  </a:solidFill>
                  <a:latin typeface="Museo Sans 900" panose="02000000000000000000" pitchFamily="50" charset="0"/>
                </a:rPr>
                <a:t>Borgloon (BE) K3</a:t>
              </a:r>
            </a:p>
            <a:p>
              <a:pPr>
                <a:lnSpc>
                  <a:spcPct val="84000"/>
                </a:lnSpc>
              </a:pPr>
              <a:r>
                <a:rPr lang="aa-ET" sz="1400" dirty="0">
                  <a:solidFill>
                    <a:srgbClr val="1E377D"/>
                  </a:solidFill>
                  <a:latin typeface="Museo Sans 100" panose="02000000000000000000" pitchFamily="50" charset="0"/>
                </a:rPr>
                <a:t>3 GLAS LI</a:t>
              </a:r>
              <a:r>
                <a:rPr lang="nl-BE" sz="1400" dirty="0">
                  <a:solidFill>
                    <a:srgbClr val="1E377D"/>
                  </a:solidFill>
                  <a:latin typeface="Museo Sans 100" panose="02000000000000000000" pitchFamily="50" charset="0"/>
                </a:rPr>
                <a:t>J</a:t>
              </a:r>
              <a:r>
                <a:rPr lang="aa-ET" sz="1400" dirty="0">
                  <a:solidFill>
                    <a:srgbClr val="1E377D"/>
                  </a:solidFill>
                  <a:latin typeface="Museo Sans 100" panose="02000000000000000000" pitchFamily="50" charset="0"/>
                </a:rPr>
                <a:t>NE</a:t>
              </a:r>
              <a:r>
                <a:rPr lang="nl-BE" sz="1400" dirty="0">
                  <a:solidFill>
                    <a:srgbClr val="1E377D"/>
                  </a:solidFill>
                  <a:latin typeface="Museo Sans 100" panose="02000000000000000000" pitchFamily="50" charset="0"/>
                </a:rPr>
                <a:t>N</a:t>
              </a:r>
              <a:endParaRPr lang="en-GB" sz="1400" dirty="0">
                <a:solidFill>
                  <a:srgbClr val="1E377D"/>
                </a:solidFill>
                <a:latin typeface="Museo Sans 100" panose="02000000000000000000" pitchFamily="50" charset="0"/>
              </a:endParaRPr>
            </a:p>
          </p:txBody>
        </p:sp>
        <p:pic>
          <p:nvPicPr>
            <p:cNvPr id="98" name="Picture 11">
              <a:extLst>
                <a:ext uri="{FF2B5EF4-FFF2-40B4-BE49-F238E27FC236}">
                  <a16:creationId xmlns:a16="http://schemas.microsoft.com/office/drawing/2014/main" id="{D97ECAF0-1596-9EA4-EC5F-F6F5E8CC2B4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16907" y="3564628"/>
              <a:ext cx="361950" cy="24020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048497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000"/>
                            </p:stCondLst>
                            <p:childTnLst>
                              <p:par>
                                <p:cTn id="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3500"/>
                            </p:stCondLst>
                            <p:childTnLst>
                              <p:par>
                                <p:cTn id="4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/>
      <p:bldP spid="66" grpId="0"/>
      <p:bldP spid="6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">
            <a:extLst>
              <a:ext uri="{FF2B5EF4-FFF2-40B4-BE49-F238E27FC236}">
                <a16:creationId xmlns:a16="http://schemas.microsoft.com/office/drawing/2014/main" id="{05EBD687-F27E-410E-914E-E7620ADCBC5B}"/>
              </a:ext>
            </a:extLst>
          </p:cNvPr>
          <p:cNvSpPr txBox="1">
            <a:spLocks/>
          </p:cNvSpPr>
          <p:nvPr/>
        </p:nvSpPr>
        <p:spPr>
          <a:xfrm>
            <a:off x="622115" y="1211741"/>
            <a:ext cx="5170782" cy="5456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BE" sz="2000" dirty="0">
              <a:latin typeface="Ubuntu" panose="020B0604020202020204" charset="0"/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56E858A-1E55-4E5F-D9F6-0BF8DF992F3D}"/>
              </a:ext>
            </a:extLst>
          </p:cNvPr>
          <p:cNvSpPr txBox="1">
            <a:spLocks/>
          </p:cNvSpPr>
          <p:nvPr/>
        </p:nvSpPr>
        <p:spPr>
          <a:xfrm>
            <a:off x="588038" y="692116"/>
            <a:ext cx="6824439" cy="1000497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1E37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4000" dirty="0">
                <a:latin typeface="Museo Sans 100" panose="02000000000000000000" pitchFamily="50" charset="0"/>
              </a:rPr>
              <a:t>Waarom de </a:t>
            </a:r>
            <a:br>
              <a:rPr lang="nl-BE" sz="4000" dirty="0">
                <a:latin typeface="Museo Sans 100" panose="02000000000000000000" pitchFamily="50" charset="0"/>
              </a:rPr>
            </a:br>
            <a:r>
              <a:rPr lang="nl-BE" sz="4000" dirty="0">
                <a:latin typeface="Museo Sans 900" panose="02000000000000000000" pitchFamily="50" charset="0"/>
              </a:rPr>
              <a:t>keuze voor Genk en GGL?</a:t>
            </a:r>
            <a:endParaRPr lang="nl-BE" sz="4000" spc="400" dirty="0">
              <a:latin typeface="Museo Sans 900" panose="02000000000000000000" pitchFamily="50" charset="0"/>
            </a:endParaRPr>
          </a:p>
        </p:txBody>
      </p:sp>
      <p:sp>
        <p:nvSpPr>
          <p:cNvPr id="16" name="Rechthoek 15">
            <a:extLst>
              <a:ext uri="{FF2B5EF4-FFF2-40B4-BE49-F238E27FC236}">
                <a16:creationId xmlns:a16="http://schemas.microsoft.com/office/drawing/2014/main" id="{0B959D95-AF2E-E3C4-0F22-BDCE5C31D11C}"/>
              </a:ext>
            </a:extLst>
          </p:cNvPr>
          <p:cNvSpPr/>
          <p:nvPr/>
        </p:nvSpPr>
        <p:spPr>
          <a:xfrm flipV="1">
            <a:off x="0" y="878513"/>
            <a:ext cx="511277" cy="45719"/>
          </a:xfrm>
          <a:prstGeom prst="rect">
            <a:avLst/>
          </a:prstGeom>
          <a:solidFill>
            <a:srgbClr val="FAA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04B63048-BB1A-263C-6567-BE0BCD6CCF6F}"/>
              </a:ext>
            </a:extLst>
          </p:cNvPr>
          <p:cNvSpPr txBox="1">
            <a:spLocks/>
          </p:cNvSpPr>
          <p:nvPr/>
        </p:nvSpPr>
        <p:spPr>
          <a:xfrm>
            <a:off x="622116" y="2030581"/>
            <a:ext cx="5641951" cy="482741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400"/>
              </a:lnSpc>
              <a:spcAft>
                <a:spcPts val="1800"/>
              </a:spcAft>
              <a:buSzPct val="110000"/>
            </a:pPr>
            <a:r>
              <a:rPr lang="nl-NL" sz="2000" dirty="0">
                <a:solidFill>
                  <a:srgbClr val="FAAA00"/>
                </a:solidFill>
                <a:latin typeface="Museo Sans 900" panose="02000000000000000000" pitchFamily="50" charset="0"/>
              </a:rPr>
              <a:t>Wat waren voor Konings nv de belangrijkste redenen om de nieuwe productie op de terreinen van GGL te lokaliseren?</a:t>
            </a:r>
          </a:p>
          <a:p>
            <a:pPr>
              <a:lnSpc>
                <a:spcPct val="100000"/>
              </a:lnSpc>
              <a:spcAft>
                <a:spcPts val="600"/>
              </a:spcAft>
              <a:buSzPct val="110000"/>
            </a:pPr>
            <a:r>
              <a:rPr lang="nl-NL" sz="1800" dirty="0">
                <a:latin typeface="Museo Sans 900" panose="02000000000000000000" pitchFamily="50" charset="0"/>
              </a:rPr>
              <a:t>De locatie</a:t>
            </a:r>
          </a:p>
          <a:p>
            <a:pPr marL="285750" indent="-285750">
              <a:lnSpc>
                <a:spcPct val="100000"/>
              </a:lnSpc>
              <a:spcAft>
                <a:spcPts val="600"/>
              </a:spcAft>
              <a:buSzPct val="110000"/>
              <a:buBlip>
                <a:blip r:embed="rId3"/>
              </a:buBlip>
            </a:pPr>
            <a:r>
              <a:rPr lang="nl-NL" sz="1800" dirty="0">
                <a:latin typeface="Museo Sans 100" panose="02000000000000000000" pitchFamily="50" charset="0"/>
              </a:rPr>
              <a:t>Zeer goede multimodale ontsluiting</a:t>
            </a:r>
          </a:p>
          <a:p>
            <a:pPr marL="285750" indent="-285750">
              <a:lnSpc>
                <a:spcPct val="100000"/>
              </a:lnSpc>
              <a:spcAft>
                <a:spcPts val="600"/>
              </a:spcAft>
              <a:buSzPct val="110000"/>
              <a:buBlip>
                <a:blip r:embed="rId3"/>
              </a:buBlip>
            </a:pPr>
            <a:r>
              <a:rPr lang="nl-NL" sz="1800" dirty="0">
                <a:latin typeface="Museo Sans 100" panose="02000000000000000000" pitchFamily="50" charset="0"/>
              </a:rPr>
              <a:t>Nabijheid van mogelijke logistieke partners</a:t>
            </a:r>
          </a:p>
          <a:p>
            <a:pPr marL="285750" indent="-285750">
              <a:lnSpc>
                <a:spcPct val="100000"/>
              </a:lnSpc>
              <a:spcAft>
                <a:spcPts val="1800"/>
              </a:spcAft>
              <a:buSzPct val="110000"/>
              <a:buBlip>
                <a:blip r:embed="rId3"/>
              </a:buBlip>
            </a:pPr>
            <a:r>
              <a:rPr lang="nl-NL" sz="1800" dirty="0">
                <a:latin typeface="Museo Sans 100" panose="02000000000000000000" pitchFamily="50" charset="0"/>
              </a:rPr>
              <a:t>Dicht bij de historische site en HQ in Zonhoven</a:t>
            </a:r>
          </a:p>
          <a:p>
            <a:pPr>
              <a:lnSpc>
                <a:spcPct val="100000"/>
              </a:lnSpc>
              <a:spcAft>
                <a:spcPts val="600"/>
              </a:spcAft>
              <a:buSzPct val="110000"/>
            </a:pPr>
            <a:r>
              <a:rPr lang="nl-NL" sz="1800" dirty="0">
                <a:latin typeface="Museo Sans 900" panose="02000000000000000000" pitchFamily="50" charset="0"/>
              </a:rPr>
              <a:t>Bovendien</a:t>
            </a:r>
            <a:endParaRPr lang="nl-NL" sz="1800" dirty="0">
              <a:latin typeface="Museo Sans 100" panose="02000000000000000000" pitchFamily="50" charset="0"/>
            </a:endParaRPr>
          </a:p>
          <a:p>
            <a:pPr marL="285750" indent="-285750">
              <a:lnSpc>
                <a:spcPct val="100000"/>
              </a:lnSpc>
              <a:spcAft>
                <a:spcPts val="600"/>
              </a:spcAft>
              <a:buSzPct val="110000"/>
              <a:buBlip>
                <a:blip r:embed="rId3"/>
              </a:buBlip>
            </a:pPr>
            <a:r>
              <a:rPr lang="nl-NL" sz="1800" dirty="0">
                <a:latin typeface="Museo Sans 100" panose="02000000000000000000" pitchFamily="50" charset="0"/>
              </a:rPr>
              <a:t>Icoon van Limburgse industrie</a:t>
            </a:r>
          </a:p>
          <a:p>
            <a:pPr marL="285750" indent="-285750">
              <a:lnSpc>
                <a:spcPct val="100000"/>
              </a:lnSpc>
              <a:spcAft>
                <a:spcPts val="600"/>
              </a:spcAft>
              <a:buSzPct val="110000"/>
              <a:buBlip>
                <a:blip r:embed="rId3"/>
              </a:buBlip>
            </a:pPr>
            <a:r>
              <a:rPr lang="nl-NL" sz="1800" dirty="0">
                <a:latin typeface="Museo Sans 100" panose="02000000000000000000" pitchFamily="50" charset="0"/>
              </a:rPr>
              <a:t>Gebouwd op maat van Konings nv</a:t>
            </a:r>
          </a:p>
          <a:p>
            <a:pPr marL="285750" indent="-285750">
              <a:lnSpc>
                <a:spcPct val="100000"/>
              </a:lnSpc>
              <a:buSzPct val="110000"/>
              <a:buBlip>
                <a:blip r:embed="rId3"/>
              </a:buBlip>
            </a:pPr>
            <a:r>
              <a:rPr lang="nl-NL" sz="1800" dirty="0">
                <a:latin typeface="Museo Sans 100" panose="02000000000000000000" pitchFamily="50" charset="0"/>
              </a:rPr>
              <a:t>Lange termijn commitment van 29 jaar</a:t>
            </a: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63539BFE-6A9E-E2D8-C3BB-77625FC6D77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53"/>
          <a:stretch/>
        </p:blipFill>
        <p:spPr>
          <a:xfrm>
            <a:off x="6011743" y="2922104"/>
            <a:ext cx="6070925" cy="3820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996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 animBg="1"/>
      <p:bldP spid="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">
            <a:extLst>
              <a:ext uri="{FF2B5EF4-FFF2-40B4-BE49-F238E27FC236}">
                <a16:creationId xmlns:a16="http://schemas.microsoft.com/office/drawing/2014/main" id="{05EBD687-F27E-410E-914E-E7620ADCBC5B}"/>
              </a:ext>
            </a:extLst>
          </p:cNvPr>
          <p:cNvSpPr txBox="1">
            <a:spLocks/>
          </p:cNvSpPr>
          <p:nvPr/>
        </p:nvSpPr>
        <p:spPr>
          <a:xfrm>
            <a:off x="622115" y="1211741"/>
            <a:ext cx="5170782" cy="5456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BE" sz="2000" dirty="0">
              <a:latin typeface="Ubuntu" panose="020B0604020202020204" charset="0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159CFA60-32E0-41A0-9D0F-D938984D3540}"/>
              </a:ext>
            </a:extLst>
          </p:cNvPr>
          <p:cNvSpPr txBox="1">
            <a:spLocks/>
          </p:cNvSpPr>
          <p:nvPr/>
        </p:nvSpPr>
        <p:spPr>
          <a:xfrm>
            <a:off x="622116" y="2445051"/>
            <a:ext cx="5496673" cy="256278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400"/>
              </a:lnSpc>
              <a:spcAft>
                <a:spcPts val="1800"/>
              </a:spcAft>
              <a:buSzPct val="110000"/>
            </a:pPr>
            <a:r>
              <a:rPr lang="nl-NL" sz="2000" dirty="0">
                <a:solidFill>
                  <a:srgbClr val="FAAA00"/>
                </a:solidFill>
                <a:latin typeface="Museo Sans 900" panose="02000000000000000000" pitchFamily="50" charset="0"/>
              </a:rPr>
              <a:t>Wat is voor Konings nv het belang van de logistieke multimodale ontsluiting op deze nieuwe strategische locatie?</a:t>
            </a:r>
            <a:endParaRPr lang="nl-NL" sz="1800" dirty="0">
              <a:solidFill>
                <a:srgbClr val="FAAA00"/>
              </a:solidFill>
              <a:latin typeface="Museo Sans 900" panose="02000000000000000000" pitchFamily="50" charset="0"/>
            </a:endParaRPr>
          </a:p>
          <a:p>
            <a:pPr>
              <a:lnSpc>
                <a:spcPct val="100000"/>
              </a:lnSpc>
              <a:spcAft>
                <a:spcPts val="600"/>
              </a:spcAft>
              <a:buSzPct val="110000"/>
            </a:pPr>
            <a:r>
              <a:rPr lang="nl-NL" sz="1800" dirty="0">
                <a:latin typeface="Museo Sans 900" panose="02000000000000000000" pitchFamily="50" charset="0"/>
              </a:rPr>
              <a:t>Voor onze klanten: </a:t>
            </a:r>
          </a:p>
          <a:p>
            <a:pPr marL="285750" indent="-285750">
              <a:lnSpc>
                <a:spcPct val="100000"/>
              </a:lnSpc>
              <a:spcAft>
                <a:spcPts val="1800"/>
              </a:spcAft>
              <a:buSzPct val="110000"/>
              <a:buBlip>
                <a:blip r:embed="rId3"/>
              </a:buBlip>
            </a:pPr>
            <a:r>
              <a:rPr lang="nl-NL" sz="1800" dirty="0">
                <a:latin typeface="Museo Sans 100" panose="02000000000000000000" pitchFamily="50" charset="0"/>
              </a:rPr>
              <a:t>Efficiënte afvoer van de afgewerkte producten</a:t>
            </a:r>
          </a:p>
          <a:p>
            <a:pPr>
              <a:lnSpc>
                <a:spcPct val="100000"/>
              </a:lnSpc>
              <a:spcAft>
                <a:spcPts val="600"/>
              </a:spcAft>
              <a:buSzPct val="110000"/>
            </a:pPr>
            <a:r>
              <a:rPr lang="nl-NL" sz="1800" dirty="0">
                <a:latin typeface="Museo Sans 900" panose="02000000000000000000" pitchFamily="50" charset="0"/>
              </a:rPr>
              <a:t>Voor onze leveranciers: </a:t>
            </a:r>
            <a:endParaRPr lang="nl-NL" sz="1800" dirty="0">
              <a:latin typeface="Museo Sans 100" panose="02000000000000000000" pitchFamily="50" charset="0"/>
            </a:endParaRPr>
          </a:p>
          <a:p>
            <a:pPr marL="285750" indent="-285750">
              <a:lnSpc>
                <a:spcPct val="100000"/>
              </a:lnSpc>
              <a:spcAft>
                <a:spcPts val="1200"/>
              </a:spcAft>
              <a:buSzPct val="110000"/>
              <a:buBlip>
                <a:blip r:embed="rId3"/>
              </a:buBlip>
            </a:pPr>
            <a:r>
              <a:rPr lang="nl-NL" sz="1800" dirty="0">
                <a:latin typeface="Museo Sans 100" panose="02000000000000000000" pitchFamily="50" charset="0"/>
              </a:rPr>
              <a:t>Efficiënte aanvoer van grond- en hulpstoffen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2EA97BF1-3BE9-6645-8C2C-16A4902B885C}"/>
              </a:ext>
            </a:extLst>
          </p:cNvPr>
          <p:cNvSpPr txBox="1">
            <a:spLocks/>
          </p:cNvSpPr>
          <p:nvPr/>
        </p:nvSpPr>
        <p:spPr>
          <a:xfrm>
            <a:off x="588038" y="682388"/>
            <a:ext cx="6501019" cy="1057328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1E37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4000" dirty="0">
                <a:latin typeface="Museo Sans 100" panose="02000000000000000000" pitchFamily="50" charset="0"/>
              </a:rPr>
              <a:t>Het belang van </a:t>
            </a:r>
            <a:br>
              <a:rPr lang="nl-BE" sz="4000" dirty="0">
                <a:latin typeface="Museo Sans 100" panose="02000000000000000000" pitchFamily="50" charset="0"/>
              </a:rPr>
            </a:br>
            <a:r>
              <a:rPr lang="nl-BE" sz="4000" dirty="0">
                <a:latin typeface="Museo Sans 900" panose="02000000000000000000" pitchFamily="50" charset="0"/>
              </a:rPr>
              <a:t>multimodale ontsluiting</a:t>
            </a:r>
            <a:endParaRPr lang="nl-BE" sz="4000" spc="400" dirty="0">
              <a:latin typeface="Museo Sans 100" panose="02000000000000000000" pitchFamily="50" charset="0"/>
            </a:endParaRPr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A1F94812-4E85-0C19-3AC0-B6C5A8CC9F45}"/>
              </a:ext>
            </a:extLst>
          </p:cNvPr>
          <p:cNvSpPr/>
          <p:nvPr/>
        </p:nvSpPr>
        <p:spPr>
          <a:xfrm flipV="1">
            <a:off x="0" y="878513"/>
            <a:ext cx="511277" cy="45719"/>
          </a:xfrm>
          <a:prstGeom prst="rect">
            <a:avLst/>
          </a:prstGeom>
          <a:solidFill>
            <a:srgbClr val="FAA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597A32F7-D095-3FA9-2D20-84ABE757D38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2597" y="208722"/>
            <a:ext cx="465676" cy="480312"/>
          </a:xfrm>
          <a:prstGeom prst="rect">
            <a:avLst/>
          </a:prstGeom>
        </p:spPr>
      </p:pic>
      <p:pic>
        <p:nvPicPr>
          <p:cNvPr id="8" name="Tijdelijke aanduiding voor afbeelding 9">
            <a:extLst>
              <a:ext uri="{FF2B5EF4-FFF2-40B4-BE49-F238E27FC236}">
                <a16:creationId xmlns:a16="http://schemas.microsoft.com/office/drawing/2014/main" id="{6652FD0A-1876-C2C5-3E77-6E449256BFE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14" r="22114"/>
          <a:stretch/>
        </p:blipFill>
        <p:spPr>
          <a:xfrm>
            <a:off x="6454775" y="0"/>
            <a:ext cx="5737225" cy="6858000"/>
          </a:xfrm>
          <a:custGeom>
            <a:avLst/>
            <a:gdLst>
              <a:gd name="connsiteX0" fmla="*/ 4100741 w 5737203"/>
              <a:gd name="connsiteY0" fmla="*/ 0 h 6858000"/>
              <a:gd name="connsiteX1" fmla="*/ 5737203 w 5737203"/>
              <a:gd name="connsiteY1" fmla="*/ 0 h 6858000"/>
              <a:gd name="connsiteX2" fmla="*/ 5737203 w 5737203"/>
              <a:gd name="connsiteY2" fmla="*/ 6858000 h 6858000"/>
              <a:gd name="connsiteX3" fmla="*/ 1219636 w 5737203"/>
              <a:gd name="connsiteY3" fmla="*/ 6858000 h 6858000"/>
              <a:gd name="connsiteX4" fmla="*/ 1064289 w 5737203"/>
              <a:gd name="connsiteY4" fmla="*/ 6734398 h 6858000"/>
              <a:gd name="connsiteX5" fmla="*/ 695462 w 5737203"/>
              <a:gd name="connsiteY5" fmla="*/ 6388414 h 6858000"/>
              <a:gd name="connsiteX6" fmla="*/ 582739 w 5737203"/>
              <a:gd name="connsiteY6" fmla="*/ 3502159 h 6858000"/>
              <a:gd name="connsiteX7" fmla="*/ 3196879 w 5737203"/>
              <a:gd name="connsiteY7" fmla="*/ 877000 h 6858000"/>
              <a:gd name="connsiteX8" fmla="*/ 4016798 w 5737203"/>
              <a:gd name="connsiteY8" fmla="*/ 7600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737203" h="6858000">
                <a:moveTo>
                  <a:pt x="4100741" y="0"/>
                </a:moveTo>
                <a:lnTo>
                  <a:pt x="5737203" y="0"/>
                </a:lnTo>
                <a:lnTo>
                  <a:pt x="5737203" y="6858000"/>
                </a:lnTo>
                <a:lnTo>
                  <a:pt x="1219636" y="6858000"/>
                </a:lnTo>
                <a:lnTo>
                  <a:pt x="1064289" y="6734398"/>
                </a:lnTo>
                <a:cubicBezTo>
                  <a:pt x="927794" y="6620090"/>
                  <a:pt x="804150" y="6504464"/>
                  <a:pt x="695462" y="6388414"/>
                </a:cubicBezTo>
                <a:cubicBezTo>
                  <a:pt x="-228504" y="5444939"/>
                  <a:pt x="-196601" y="4472891"/>
                  <a:pt x="582739" y="3502159"/>
                </a:cubicBezTo>
                <a:cubicBezTo>
                  <a:pt x="1361694" y="2533098"/>
                  <a:pt x="2435477" y="1661379"/>
                  <a:pt x="3196879" y="877000"/>
                </a:cubicBezTo>
                <a:cubicBezTo>
                  <a:pt x="3502576" y="590316"/>
                  <a:pt x="3763955" y="315903"/>
                  <a:pt x="4016798" y="76008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59723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0" grpId="0"/>
      <p:bldP spid="1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2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2.70999999999999996447E+00&quot;&gt;&lt;m_msothmcolidx val=&quot;0&quot;/&gt;&lt;m_rgb r=&quot;3C&quot; g=&quot;63&quot; b=&quot;CA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t slides small title">
  <a:themeElements>
    <a:clrScheme name="Konings">
      <a:dk1>
        <a:srgbClr val="FFFFFF"/>
      </a:dk1>
      <a:lt1>
        <a:srgbClr val="0A2369"/>
      </a:lt1>
      <a:dk2>
        <a:srgbClr val="FFFFFF"/>
      </a:dk2>
      <a:lt2>
        <a:srgbClr val="0A2369"/>
      </a:lt2>
      <a:accent1>
        <a:srgbClr val="FAAA00"/>
      </a:accent1>
      <a:accent2>
        <a:srgbClr val="0A2369"/>
      </a:accent2>
      <a:accent3>
        <a:srgbClr val="FA8C00"/>
      </a:accent3>
      <a:accent4>
        <a:srgbClr val="233C82"/>
      </a:accent4>
      <a:accent5>
        <a:srgbClr val="BFBFBF"/>
      </a:accent5>
      <a:accent6>
        <a:srgbClr val="7F7F7F"/>
      </a:accent6>
      <a:hlink>
        <a:srgbClr val="0563C1"/>
      </a:hlink>
      <a:folHlink>
        <a:srgbClr val="954F72"/>
      </a:folHlink>
    </a:clrScheme>
    <a:fontScheme name="Aangepast 1">
      <a:majorFont>
        <a:latin typeface="Museo 900"/>
        <a:ea typeface=""/>
        <a:cs typeface=""/>
      </a:majorFont>
      <a:minorFont>
        <a:latin typeface="Museo 100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onings-20210121.potx" id="{50349D80-F49F-4FE4-B35C-F11889A4BC96}" vid="{1FAF9B9C-CF0D-404D-B9AE-87BCBDCA2E4B}"/>
    </a:ext>
  </a:extLst>
</a:theme>
</file>

<file path=ppt/theme/theme2.xml><?xml version="1.0" encoding="utf-8"?>
<a:theme xmlns:a="http://schemas.openxmlformats.org/drawingml/2006/main" name="Covers, toc &amp; chapter slides">
  <a:themeElements>
    <a:clrScheme name="Konings">
      <a:dk1>
        <a:srgbClr val="FFFFFF"/>
      </a:dk1>
      <a:lt1>
        <a:srgbClr val="0A2369"/>
      </a:lt1>
      <a:dk2>
        <a:srgbClr val="FFFFFF"/>
      </a:dk2>
      <a:lt2>
        <a:srgbClr val="0A2369"/>
      </a:lt2>
      <a:accent1>
        <a:srgbClr val="FAAA00"/>
      </a:accent1>
      <a:accent2>
        <a:srgbClr val="0A2369"/>
      </a:accent2>
      <a:accent3>
        <a:srgbClr val="FA8C00"/>
      </a:accent3>
      <a:accent4>
        <a:srgbClr val="233C82"/>
      </a:accent4>
      <a:accent5>
        <a:srgbClr val="BFBFBF"/>
      </a:accent5>
      <a:accent6>
        <a:srgbClr val="7F7F7F"/>
      </a:accent6>
      <a:hlink>
        <a:srgbClr val="0563C1"/>
      </a:hlink>
      <a:folHlink>
        <a:srgbClr val="954F72"/>
      </a:folHlink>
    </a:clrScheme>
    <a:fontScheme name="Konings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onings-20210121.potx" id="{50349D80-F49F-4FE4-B35C-F11889A4BC96}" vid="{EE52BFB0-59B7-4D14-A424-925C5BCE51D2}"/>
    </a:ext>
  </a:extLst>
</a:theme>
</file>

<file path=ppt/theme/theme3.xml><?xml version="1.0" encoding="utf-8"?>
<a:theme xmlns:a="http://schemas.openxmlformats.org/drawingml/2006/main" name="Highlights &amp; quotes">
  <a:themeElements>
    <a:clrScheme name="Konings">
      <a:dk1>
        <a:srgbClr val="FFFFFF"/>
      </a:dk1>
      <a:lt1>
        <a:srgbClr val="0A2369"/>
      </a:lt1>
      <a:dk2>
        <a:srgbClr val="FFFFFF"/>
      </a:dk2>
      <a:lt2>
        <a:srgbClr val="0A2369"/>
      </a:lt2>
      <a:accent1>
        <a:srgbClr val="FAAA00"/>
      </a:accent1>
      <a:accent2>
        <a:srgbClr val="0A2369"/>
      </a:accent2>
      <a:accent3>
        <a:srgbClr val="FA8C00"/>
      </a:accent3>
      <a:accent4>
        <a:srgbClr val="233C82"/>
      </a:accent4>
      <a:accent5>
        <a:srgbClr val="BFBFBF"/>
      </a:accent5>
      <a:accent6>
        <a:srgbClr val="7F7F7F"/>
      </a:accent6>
      <a:hlink>
        <a:srgbClr val="0563C1"/>
      </a:hlink>
      <a:folHlink>
        <a:srgbClr val="954F72"/>
      </a:folHlink>
    </a:clrScheme>
    <a:fontScheme name="Aangepast 2">
      <a:majorFont>
        <a:latin typeface="Museo 900"/>
        <a:ea typeface=""/>
        <a:cs typeface=""/>
      </a:majorFont>
      <a:minorFont>
        <a:latin typeface="Museo 100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onings-20210121.potx" id="{50349D80-F49F-4FE4-B35C-F11889A4BC96}" vid="{EE1F9FF7-6162-4E89-96FF-34A0C986C55D}"/>
    </a:ext>
  </a:extLst>
</a:theme>
</file>

<file path=ppt/theme/theme4.xml><?xml version="1.0" encoding="utf-8"?>
<a:theme xmlns:a="http://schemas.openxmlformats.org/drawingml/2006/main" name="Content big title">
  <a:themeElements>
    <a:clrScheme name="Konings">
      <a:dk1>
        <a:srgbClr val="FFFFFF"/>
      </a:dk1>
      <a:lt1>
        <a:srgbClr val="0A2369"/>
      </a:lt1>
      <a:dk2>
        <a:srgbClr val="FFFFFF"/>
      </a:dk2>
      <a:lt2>
        <a:srgbClr val="0A2369"/>
      </a:lt2>
      <a:accent1>
        <a:srgbClr val="FAAA00"/>
      </a:accent1>
      <a:accent2>
        <a:srgbClr val="0A2369"/>
      </a:accent2>
      <a:accent3>
        <a:srgbClr val="FA8C00"/>
      </a:accent3>
      <a:accent4>
        <a:srgbClr val="233C82"/>
      </a:accent4>
      <a:accent5>
        <a:srgbClr val="BFBFBF"/>
      </a:accent5>
      <a:accent6>
        <a:srgbClr val="7F7F7F"/>
      </a:accent6>
      <a:hlink>
        <a:srgbClr val="0563C1"/>
      </a:hlink>
      <a:folHlink>
        <a:srgbClr val="954F72"/>
      </a:folHlink>
    </a:clrScheme>
    <a:fontScheme name="Konings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onings-20210121.potx" id="{50349D80-F49F-4FE4-B35C-F11889A4BC96}" vid="{EE1F9FF7-6162-4E89-96FF-34A0C986C55D}"/>
    </a:ext>
  </a:extLst>
</a:theme>
</file>

<file path=ppt/theme/theme5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06</TotalTime>
  <Words>1173</Words>
  <Application>Microsoft Office PowerPoint</Application>
  <PresentationFormat>Breedbeeld</PresentationFormat>
  <Paragraphs>257</Paragraphs>
  <Slides>15</Slides>
  <Notes>15</Notes>
  <HiddenSlides>0</HiddenSlides>
  <MMClips>2</MMClips>
  <ScaleCrop>false</ScaleCrop>
  <HeadingPairs>
    <vt:vector size="8" baseType="variant">
      <vt:variant>
        <vt:lpstr>Gebruikte lettertypen</vt:lpstr>
      </vt:variant>
      <vt:variant>
        <vt:i4>8</vt:i4>
      </vt:variant>
      <vt:variant>
        <vt:lpstr>Thema</vt:lpstr>
      </vt:variant>
      <vt:variant>
        <vt:i4>4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5</vt:i4>
      </vt:variant>
    </vt:vector>
  </HeadingPairs>
  <TitlesOfParts>
    <vt:vector size="28" baseType="lpstr">
      <vt:lpstr>Museo Sans 100</vt:lpstr>
      <vt:lpstr>Museo Sans 900</vt:lpstr>
      <vt:lpstr>Ubuntu</vt:lpstr>
      <vt:lpstr>Calibri</vt:lpstr>
      <vt:lpstr>Calibri Light</vt:lpstr>
      <vt:lpstr>Museo 900</vt:lpstr>
      <vt:lpstr>Museo 100</vt:lpstr>
      <vt:lpstr>Arial</vt:lpstr>
      <vt:lpstr>Content slides small title</vt:lpstr>
      <vt:lpstr>Covers, toc &amp; chapter slides</vt:lpstr>
      <vt:lpstr>Highlights &amp; quotes</vt:lpstr>
      <vt:lpstr>Content big title</vt:lpstr>
      <vt:lpstr>think-cell Slid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Jan Van der Herten</dc:creator>
  <cp:lastModifiedBy>Ronny Neven</cp:lastModifiedBy>
  <cp:revision>766</cp:revision>
  <dcterms:created xsi:type="dcterms:W3CDTF">2021-01-20T09:24:01Z</dcterms:created>
  <dcterms:modified xsi:type="dcterms:W3CDTF">2022-05-24T13:55:32Z</dcterms:modified>
</cp:coreProperties>
</file>